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5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4"/>
    <p:sldMasterId id="2147483668" r:id="rId5"/>
    <p:sldMasterId id="2147483674" r:id="rId6"/>
    <p:sldMasterId id="2147483648" r:id="rId7"/>
    <p:sldMasterId id="2147483684" r:id="rId8"/>
    <p:sldMasterId id="2147483697" r:id="rId9"/>
  </p:sldMasterIdLst>
  <p:notesMasterIdLst>
    <p:notesMasterId r:id="rId30"/>
  </p:notesMasterIdLst>
  <p:handoutMasterIdLst>
    <p:handoutMasterId r:id="rId31"/>
  </p:handoutMasterIdLst>
  <p:sldIdLst>
    <p:sldId id="357" r:id="rId10"/>
    <p:sldId id="367" r:id="rId11"/>
    <p:sldId id="410" r:id="rId12"/>
    <p:sldId id="387" r:id="rId13"/>
    <p:sldId id="388" r:id="rId14"/>
    <p:sldId id="419" r:id="rId15"/>
    <p:sldId id="421" r:id="rId16"/>
    <p:sldId id="391" r:id="rId17"/>
    <p:sldId id="418" r:id="rId18"/>
    <p:sldId id="395" r:id="rId19"/>
    <p:sldId id="378" r:id="rId20"/>
    <p:sldId id="409" r:id="rId21"/>
    <p:sldId id="414" r:id="rId22"/>
    <p:sldId id="420" r:id="rId23"/>
    <p:sldId id="411" r:id="rId24"/>
    <p:sldId id="392" r:id="rId25"/>
    <p:sldId id="413" r:id="rId26"/>
    <p:sldId id="390" r:id="rId27"/>
    <p:sldId id="415" r:id="rId28"/>
    <p:sldId id="377" r:id="rId29"/>
  </p:sldIdLst>
  <p:sldSz cx="9144000" cy="5143500" type="screen16x9"/>
  <p:notesSz cx="9925050" cy="6665913"/>
  <p:custDataLst>
    <p:tags r:id="rId3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D"/>
    <a:srgbClr val="397BB0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4531" autoAdjust="0"/>
  </p:normalViewPr>
  <p:slideViewPr>
    <p:cSldViewPr snapToGrid="0">
      <p:cViewPr varScale="1">
        <p:scale>
          <a:sx n="76" d="100"/>
          <a:sy n="76" d="100"/>
        </p:scale>
        <p:origin x="1000" y="40"/>
      </p:cViewPr>
      <p:guideLst>
        <p:guide orient="horz" pos="2160"/>
        <p:guide pos="2880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100"/>
        <p:guide pos="312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hanh Thu Nguyen" userId="97d2985ac7d728af" providerId="LiveId" clId="{F8F6FFF2-AE34-4FF7-9878-97653FADBDB5}"/>
    <pc:docChg chg="undo custSel modSld">
      <pc:chgData name="Khanh Thu Nguyen" userId="97d2985ac7d728af" providerId="LiveId" clId="{F8F6FFF2-AE34-4FF7-9878-97653FADBDB5}" dt="2022-05-25T15:09:17.319" v="951" actId="20577"/>
      <pc:docMkLst>
        <pc:docMk/>
      </pc:docMkLst>
      <pc:sldChg chg="modNotesTx">
        <pc:chgData name="Khanh Thu Nguyen" userId="97d2985ac7d728af" providerId="LiveId" clId="{F8F6FFF2-AE34-4FF7-9878-97653FADBDB5}" dt="2022-05-24T12:10:42.439" v="0"/>
        <pc:sldMkLst>
          <pc:docMk/>
          <pc:sldMk cId="2919715418" sldId="387"/>
        </pc:sldMkLst>
      </pc:sldChg>
      <pc:sldChg chg="modNotesTx">
        <pc:chgData name="Khanh Thu Nguyen" userId="97d2985ac7d728af" providerId="LiveId" clId="{F8F6FFF2-AE34-4FF7-9878-97653FADBDB5}" dt="2022-05-24T12:11:07.591" v="3" actId="20577"/>
        <pc:sldMkLst>
          <pc:docMk/>
          <pc:sldMk cId="3735257262" sldId="388"/>
        </pc:sldMkLst>
      </pc:sldChg>
      <pc:sldChg chg="modNotesTx">
        <pc:chgData name="Khanh Thu Nguyen" userId="97d2985ac7d728af" providerId="LiveId" clId="{F8F6FFF2-AE34-4FF7-9878-97653FADBDB5}" dt="2022-05-25T14:53:35.846" v="207" actId="20577"/>
        <pc:sldMkLst>
          <pc:docMk/>
          <pc:sldMk cId="1978543229" sldId="391"/>
        </pc:sldMkLst>
      </pc:sldChg>
      <pc:sldChg chg="modNotesTx">
        <pc:chgData name="Khanh Thu Nguyen" userId="97d2985ac7d728af" providerId="LiveId" clId="{F8F6FFF2-AE34-4FF7-9878-97653FADBDB5}" dt="2022-05-25T15:09:17.319" v="951" actId="20577"/>
        <pc:sldMkLst>
          <pc:docMk/>
          <pc:sldMk cId="1651234330" sldId="395"/>
        </pc:sldMkLst>
      </pc:sldChg>
      <pc:sldChg chg="modNotesTx">
        <pc:chgData name="Khanh Thu Nguyen" userId="97d2985ac7d728af" providerId="LiveId" clId="{F8F6FFF2-AE34-4FF7-9878-97653FADBDB5}" dt="2022-05-25T15:04:00.759" v="559" actId="20577"/>
        <pc:sldMkLst>
          <pc:docMk/>
          <pc:sldMk cId="4215804321" sldId="418"/>
        </pc:sldMkLst>
      </pc:sldChg>
      <pc:sldChg chg="modNotesTx">
        <pc:chgData name="Khanh Thu Nguyen" userId="97d2985ac7d728af" providerId="LiveId" clId="{F8F6FFF2-AE34-4FF7-9878-97653FADBDB5}" dt="2022-05-24T12:11:18.273" v="4"/>
        <pc:sldMkLst>
          <pc:docMk/>
          <pc:sldMk cId="4287489443" sldId="419"/>
        </pc:sldMkLst>
      </pc:sldChg>
      <pc:sldChg chg="modNotes">
        <pc:chgData name="Khanh Thu Nguyen" userId="97d2985ac7d728af" providerId="LiveId" clId="{F8F6FFF2-AE34-4FF7-9878-97653FADBDB5}" dt="2022-05-25T12:33:45.714" v="10" actId="27636"/>
        <pc:sldMkLst>
          <pc:docMk/>
          <pc:sldMk cId="398693393" sldId="420"/>
        </pc:sldMkLst>
      </pc:sldChg>
      <pc:sldChg chg="modNotesTx">
        <pc:chgData name="Khanh Thu Nguyen" userId="97d2985ac7d728af" providerId="LiveId" clId="{F8F6FFF2-AE34-4FF7-9878-97653FADBDB5}" dt="2022-05-24T12:11:31.159" v="5"/>
        <pc:sldMkLst>
          <pc:docMk/>
          <pc:sldMk cId="2344749457" sldId="421"/>
        </pc:sldMkLst>
      </pc:sldChg>
    </pc:docChg>
  </pc:docChgLst>
  <pc:docChgLst>
    <pc:chgData name="Khanh Thu Nguyen" userId="97d2985ac7d728af" providerId="Windows Live" clId="Web-{56F5EA7F-4173-44D0-9EC3-A179B7DC6C6F}"/>
    <pc:docChg chg="modSld">
      <pc:chgData name="Khanh Thu Nguyen" userId="97d2985ac7d728af" providerId="Windows Live" clId="Web-{56F5EA7F-4173-44D0-9EC3-A179B7DC6C6F}" dt="2022-05-25T14:51:10.436" v="96"/>
      <pc:docMkLst>
        <pc:docMk/>
      </pc:docMkLst>
      <pc:sldChg chg="modNotes">
        <pc:chgData name="Khanh Thu Nguyen" userId="97d2985ac7d728af" providerId="Windows Live" clId="Web-{56F5EA7F-4173-44D0-9EC3-A179B7DC6C6F}" dt="2022-05-25T14:51:10.436" v="96"/>
        <pc:sldMkLst>
          <pc:docMk/>
          <pc:sldMk cId="1978543229" sldId="391"/>
        </pc:sldMkLst>
      </pc:sldChg>
      <pc:sldChg chg="modNotes">
        <pc:chgData name="Khanh Thu Nguyen" userId="97d2985ac7d728af" providerId="Windows Live" clId="Web-{56F5EA7F-4173-44D0-9EC3-A179B7DC6C6F}" dt="2022-05-25T14:38:52.308" v="1"/>
        <pc:sldMkLst>
          <pc:docMk/>
          <pc:sldMk cId="398693393" sldId="420"/>
        </pc:sldMkLst>
      </pc:sldChg>
    </pc:docChg>
  </pc:docChgLst>
  <pc:docChgLst>
    <pc:chgData name="Gastbenutzer" providerId="Windows Live" clId="Web-{3E8F12A4-5EB0-4F9F-88A1-35B32B896318}"/>
    <pc:docChg chg="modSld">
      <pc:chgData name="Gastbenutzer" userId="" providerId="Windows Live" clId="Web-{3E8F12A4-5EB0-4F9F-88A1-35B32B896318}" dt="2022-05-25T13:11:37.508" v="28"/>
      <pc:docMkLst>
        <pc:docMk/>
      </pc:docMkLst>
      <pc:sldChg chg="modNotes">
        <pc:chgData name="Gastbenutzer" userId="" providerId="Windows Live" clId="Web-{3E8F12A4-5EB0-4F9F-88A1-35B32B896318}" dt="2022-05-25T13:11:37.508" v="28"/>
        <pc:sldMkLst>
          <pc:docMk/>
          <pc:sldMk cId="1698413268" sldId="409"/>
        </pc:sldMkLst>
      </pc:sldChg>
      <pc:sldChg chg="modNotes">
        <pc:chgData name="Gastbenutzer" userId="" providerId="Windows Live" clId="Web-{3E8F12A4-5EB0-4F9F-88A1-35B32B896318}" dt="2022-05-25T13:04:53.592" v="23"/>
        <pc:sldMkLst>
          <pc:docMk/>
          <pc:sldMk cId="881768530" sldId="414"/>
        </pc:sldMkLst>
      </pc:sldChg>
      <pc:sldChg chg="modNotes">
        <pc:chgData name="Gastbenutzer" userId="" providerId="Windows Live" clId="Web-{3E8F12A4-5EB0-4F9F-88A1-35B32B896318}" dt="2022-05-25T13:04:15.324" v="19"/>
        <pc:sldMkLst>
          <pc:docMk/>
          <pc:sldMk cId="398693393" sldId="420"/>
        </pc:sldMkLst>
      </pc:sldChg>
    </pc:docChg>
  </pc:docChgLst>
  <pc:docChgLst>
    <pc:chgData name="Gregor Höhne" userId="b3f2b4129a3a4436" providerId="LiveId" clId="{85F19FE4-D4B4-4B2C-B853-3DA8A239FF00}"/>
    <pc:docChg chg="custSel modSld">
      <pc:chgData name="Gregor Höhne" userId="b3f2b4129a3a4436" providerId="LiveId" clId="{85F19FE4-D4B4-4B2C-B853-3DA8A239FF00}" dt="2022-05-29T09:59:09.177" v="803" actId="20577"/>
      <pc:docMkLst>
        <pc:docMk/>
      </pc:docMkLst>
      <pc:sldChg chg="modNotesTx">
        <pc:chgData name="Gregor Höhne" userId="b3f2b4129a3a4436" providerId="LiveId" clId="{85F19FE4-D4B4-4B2C-B853-3DA8A239FF00}" dt="2022-05-29T09:54:24.862" v="451" actId="20577"/>
        <pc:sldMkLst>
          <pc:docMk/>
          <pc:sldMk cId="0" sldId="357"/>
        </pc:sldMkLst>
      </pc:sldChg>
      <pc:sldChg chg="modNotesTx">
        <pc:chgData name="Gregor Höhne" userId="b3f2b4129a3a4436" providerId="LiveId" clId="{85F19FE4-D4B4-4B2C-B853-3DA8A239FF00}" dt="2022-05-29T09:59:09.177" v="803" actId="20577"/>
        <pc:sldMkLst>
          <pc:docMk/>
          <pc:sldMk cId="1394832130" sldId="367"/>
        </pc:sldMkLst>
      </pc:sldChg>
      <pc:sldChg chg="modNotesTx">
        <pc:chgData name="Gregor Höhne" userId="b3f2b4129a3a4436" providerId="LiveId" clId="{85F19FE4-D4B4-4B2C-B853-3DA8A239FF00}" dt="2022-05-29T09:32:50.154" v="2" actId="20577"/>
        <pc:sldMkLst>
          <pc:docMk/>
          <pc:sldMk cId="1978543229" sldId="391"/>
        </pc:sldMkLst>
      </pc:sldChg>
      <pc:sldChg chg="modNotesTx">
        <pc:chgData name="Gregor Höhne" userId="b3f2b4129a3a4436" providerId="LiveId" clId="{85F19FE4-D4B4-4B2C-B853-3DA8A239FF00}" dt="2022-05-29T09:33:05.454" v="6" actId="790"/>
        <pc:sldMkLst>
          <pc:docMk/>
          <pc:sldMk cId="1651234330" sldId="395"/>
        </pc:sldMkLst>
      </pc:sldChg>
      <pc:sldChg chg="modNotesTx">
        <pc:chgData name="Gregor Höhne" userId="b3f2b4129a3a4436" providerId="LiveId" clId="{85F19FE4-D4B4-4B2C-B853-3DA8A239FF00}" dt="2022-05-29T09:32:54.157" v="3" actId="20577"/>
        <pc:sldMkLst>
          <pc:docMk/>
          <pc:sldMk cId="4215804321" sldId="418"/>
        </pc:sldMkLst>
      </pc:sldChg>
      <pc:sldChg chg="modNotesTx">
        <pc:chgData name="Gregor Höhne" userId="b3f2b4129a3a4436" providerId="LiveId" clId="{85F19FE4-D4B4-4B2C-B853-3DA8A239FF00}" dt="2022-05-29T09:32:43.395" v="1" actId="20577"/>
        <pc:sldMkLst>
          <pc:docMk/>
          <pc:sldMk cId="2344749457" sldId="42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9/05/2022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9/05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 morning and welcome to our presentation of how we kick off our project. </a:t>
            </a:r>
          </a:p>
          <a:p>
            <a:endParaRPr lang="en-US" dirty="0"/>
          </a:p>
          <a:p>
            <a:r>
              <a:rPr lang="en-US" dirty="0"/>
              <a:t>My name is Gregor. And my name is Nils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0462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Our basic </a:t>
            </a:r>
            <a:r>
              <a:rPr lang="en-GB" noProof="0" dirty="0" err="1"/>
              <a:t>worklow</a:t>
            </a:r>
            <a:r>
              <a:rPr lang="en-GB" noProof="0" dirty="0"/>
              <a:t> consists of four steps: </a:t>
            </a:r>
            <a:r>
              <a:rPr lang="en-GB" noProof="0" dirty="0" err="1"/>
              <a:t>todo</a:t>
            </a:r>
            <a:r>
              <a:rPr lang="en-GB" noProof="0" dirty="0"/>
              <a:t> to, in progress, ready for review and done. </a:t>
            </a:r>
          </a:p>
          <a:p>
            <a:endParaRPr lang="en-GB" noProof="0" dirty="0"/>
          </a:p>
          <a:p>
            <a:r>
              <a:rPr lang="en-GB" noProof="0" dirty="0"/>
              <a:t>Urgent tasks can be classified as a hotfix and thus be prioritized. If rework is necessary, a task goes from ready for review back to </a:t>
            </a:r>
            <a:r>
              <a:rPr lang="en-GB" noProof="0" dirty="0" err="1"/>
              <a:t>ToDo</a:t>
            </a:r>
            <a:r>
              <a:rPr lang="en-GB" noProof="0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78951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latin typeface="Arial"/>
                <a:cs typeface="Arial"/>
              </a:rPr>
              <a:t>Mention code review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77675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latin typeface="Arial"/>
                <a:cs typeface="Arial"/>
              </a:rPr>
              <a:t>Oh </a:t>
            </a:r>
            <a:r>
              <a:rPr lang="de-DE" err="1">
                <a:latin typeface="Arial"/>
                <a:cs typeface="Arial"/>
              </a:rPr>
              <a:t>shi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git</a:t>
            </a:r>
            <a:r>
              <a:rPr lang="de-DE">
                <a:latin typeface="Arial"/>
                <a:cs typeface="Arial"/>
              </a:rPr>
              <a:t>!</a:t>
            </a:r>
          </a:p>
          <a:p>
            <a:r>
              <a:rPr lang="de-DE">
                <a:latin typeface="Arial"/>
                <a:cs typeface="Arial"/>
              </a:rPr>
              <a:t>Who </a:t>
            </a:r>
            <a:r>
              <a:rPr lang="de-DE" err="1">
                <a:latin typeface="Arial"/>
                <a:cs typeface="Arial"/>
              </a:rPr>
              <a:t>does</a:t>
            </a:r>
            <a:r>
              <a:rPr lang="de-DE">
                <a:latin typeface="Arial"/>
                <a:cs typeface="Arial"/>
              </a:rPr>
              <a:t> not </a:t>
            </a:r>
            <a:r>
              <a:rPr lang="de-DE" err="1">
                <a:latin typeface="Arial"/>
                <a:cs typeface="Arial"/>
              </a:rPr>
              <a:t>know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thes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issues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when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working</a:t>
            </a:r>
            <a:r>
              <a:rPr lang="de-DE">
                <a:latin typeface="Arial"/>
                <a:cs typeface="Arial"/>
              </a:rPr>
              <a:t> in a larger </a:t>
            </a:r>
            <a:r>
              <a:rPr lang="de-DE" err="1">
                <a:latin typeface="Arial"/>
                <a:cs typeface="Arial"/>
              </a:rPr>
              <a:t>group</a:t>
            </a:r>
            <a:r>
              <a:rPr lang="de-DE">
                <a:latin typeface="Arial"/>
                <a:cs typeface="Arial"/>
              </a:rPr>
              <a:t>?</a:t>
            </a:r>
          </a:p>
          <a:p>
            <a:r>
              <a:rPr lang="de-DE">
                <a:latin typeface="Arial"/>
                <a:cs typeface="Arial"/>
              </a:rPr>
              <a:t>A </a:t>
            </a:r>
            <a:r>
              <a:rPr lang="de-DE" err="1">
                <a:latin typeface="Arial"/>
                <a:cs typeface="Arial"/>
              </a:rPr>
              <a:t>branch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chaos</a:t>
            </a:r>
            <a:r>
              <a:rPr lang="de-DE">
                <a:latin typeface="Arial"/>
                <a:cs typeface="Arial"/>
              </a:rPr>
              <a:t>, </a:t>
            </a:r>
            <a:r>
              <a:rPr lang="de-DE" err="1">
                <a:latin typeface="Arial"/>
                <a:cs typeface="Arial"/>
              </a:rPr>
              <a:t>or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merg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conflict</a:t>
            </a:r>
            <a:r>
              <a:rPr lang="de-DE">
                <a:latin typeface="Arial"/>
                <a:cs typeface="Arial"/>
              </a:rPr>
              <a:t> and </a:t>
            </a:r>
            <a:r>
              <a:rPr lang="de-DE" err="1">
                <a:latin typeface="Arial"/>
                <a:cs typeface="Arial"/>
              </a:rPr>
              <a:t>thereby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maybe</a:t>
            </a:r>
            <a:r>
              <a:rPr lang="de-DE">
                <a:latin typeface="Arial"/>
                <a:cs typeface="Arial"/>
              </a:rPr>
              <a:t> also a </a:t>
            </a:r>
            <a:r>
              <a:rPr lang="de-DE" err="1">
                <a:latin typeface="Arial"/>
                <a:cs typeface="Arial"/>
              </a:rPr>
              <a:t>detatched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head</a:t>
            </a:r>
            <a:r>
              <a:rPr lang="de-DE">
                <a:latin typeface="Arial"/>
                <a:cs typeface="Arial"/>
              </a:rPr>
              <a:t>.</a:t>
            </a:r>
          </a:p>
          <a:p>
            <a:r>
              <a:rPr lang="de-DE" err="1">
                <a:latin typeface="Arial"/>
                <a:cs typeface="Arial"/>
              </a:rPr>
              <a:t>or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simply</a:t>
            </a:r>
            <a:r>
              <a:rPr lang="de-DE">
                <a:latin typeface="Arial"/>
                <a:cs typeface="Arial"/>
              </a:rPr>
              <a:t> a </a:t>
            </a:r>
            <a:r>
              <a:rPr lang="de-DE" err="1">
                <a:latin typeface="Arial"/>
                <a:cs typeface="Arial"/>
              </a:rPr>
              <a:t>wrong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commi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message</a:t>
            </a:r>
            <a:r>
              <a:rPr lang="de-DE">
                <a:latin typeface="Arial"/>
                <a:cs typeface="Arial"/>
              </a:rPr>
              <a:t>?</a:t>
            </a:r>
          </a:p>
          <a:p>
            <a:r>
              <a:rPr lang="de-DE">
                <a:latin typeface="Arial"/>
                <a:cs typeface="Arial"/>
              </a:rPr>
              <a:t>Well </a:t>
            </a:r>
            <a:r>
              <a:rPr lang="de-DE" err="1">
                <a:latin typeface="Arial"/>
                <a:cs typeface="Arial"/>
              </a:rPr>
              <a:t>w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would</a:t>
            </a:r>
            <a:r>
              <a:rPr lang="de-DE">
                <a:latin typeface="Arial"/>
                <a:cs typeface="Arial"/>
              </a:rPr>
              <a:t> like </a:t>
            </a:r>
            <a:r>
              <a:rPr lang="de-DE" err="1">
                <a:latin typeface="Arial"/>
                <a:cs typeface="Arial"/>
              </a:rPr>
              <a:t>to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define</a:t>
            </a:r>
            <a:r>
              <a:rPr lang="de-DE">
                <a:latin typeface="Arial"/>
                <a:cs typeface="Arial"/>
              </a:rPr>
              <a:t> a </a:t>
            </a:r>
            <a:r>
              <a:rPr lang="de-DE" err="1">
                <a:latin typeface="Arial"/>
                <a:cs typeface="Arial"/>
              </a:rPr>
              <a:t>policy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of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bes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practices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for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commits</a:t>
            </a:r>
            <a:r>
              <a:rPr lang="de-DE">
                <a:latin typeface="Arial"/>
                <a:cs typeface="Arial"/>
              </a:rPr>
              <a:t>, </a:t>
            </a:r>
            <a:r>
              <a:rPr lang="de-DE" err="1">
                <a:latin typeface="Arial"/>
                <a:cs typeface="Arial"/>
              </a:rPr>
              <a:t>branching</a:t>
            </a:r>
            <a:r>
              <a:rPr lang="de-DE">
                <a:latin typeface="Arial"/>
                <a:cs typeface="Arial"/>
              </a:rPr>
              <a:t> and </a:t>
            </a:r>
            <a:r>
              <a:rPr lang="de-DE" err="1">
                <a:latin typeface="Arial"/>
                <a:cs typeface="Arial"/>
              </a:rPr>
              <a:t>merging</a:t>
            </a:r>
            <a:r>
              <a:rPr lang="de-DE">
                <a:latin typeface="Arial"/>
                <a:cs typeface="Arial"/>
              </a:rPr>
              <a:t> so </a:t>
            </a:r>
            <a:r>
              <a:rPr lang="de-DE" err="1">
                <a:latin typeface="Arial"/>
                <a:cs typeface="Arial"/>
              </a:rPr>
              <a:t>tha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we</a:t>
            </a:r>
            <a:r>
              <a:rPr lang="de-DE">
                <a:latin typeface="Arial"/>
                <a:cs typeface="Arial"/>
              </a:rPr>
              <a:t> all </a:t>
            </a:r>
            <a:r>
              <a:rPr lang="de-DE" err="1">
                <a:latin typeface="Arial"/>
                <a:cs typeface="Arial"/>
              </a:rPr>
              <a:t>ge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better</a:t>
            </a:r>
            <a:r>
              <a:rPr lang="de-DE">
                <a:latin typeface="Arial"/>
                <a:cs typeface="Arial"/>
              </a:rPr>
              <a:t> at </a:t>
            </a:r>
            <a:r>
              <a:rPr lang="de-DE" err="1">
                <a:latin typeface="Arial"/>
                <a:cs typeface="Arial"/>
              </a:rPr>
              <a:t>handling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these</a:t>
            </a:r>
            <a:r>
              <a:rPr lang="de-DE">
                <a:latin typeface="Arial"/>
                <a:cs typeface="Arial"/>
              </a:rPr>
              <a:t> challeng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98820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Arial"/>
              <a:cs typeface="Arial"/>
            </a:endParaRPr>
          </a:p>
          <a:p>
            <a:r>
              <a:rPr lang="en-US">
                <a:latin typeface="Arial"/>
                <a:cs typeface="Arial"/>
              </a:rPr>
              <a:t>One important thing is, that we want to create a branch for every new feature/fix/change and we want to name that with a certain id.</a:t>
            </a:r>
          </a:p>
          <a:p>
            <a:r>
              <a:rPr lang="en-US">
                <a:latin typeface="Arial"/>
                <a:cs typeface="Arial"/>
              </a:rPr>
              <a:t>This id is connected to our </a:t>
            </a:r>
            <a:r>
              <a:rPr lang="en-US" err="1">
                <a:latin typeface="Arial"/>
                <a:cs typeface="Arial"/>
              </a:rPr>
              <a:t>jira</a:t>
            </a:r>
            <a:r>
              <a:rPr lang="en-US">
                <a:latin typeface="Arial"/>
                <a:cs typeface="Arial"/>
              </a:rPr>
              <a:t> management tool. so we can keep track of our work.</a:t>
            </a:r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83415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/>
          </a:p>
          <a:p>
            <a:br>
              <a:rPr lang="en-US"/>
            </a:br>
            <a:r>
              <a:rPr lang="en-US">
                <a:latin typeface="Arial"/>
                <a:cs typeface="Arial"/>
              </a:rPr>
              <a:t>Another important thing is, that we use meaningful commit messages all the time. and if we have more than one commit for a task, we can squash them together so that our master history stays clean</a:t>
            </a:r>
          </a:p>
          <a:p>
            <a:endParaRPr lang="en-US">
              <a:latin typeface="Arial"/>
              <a:cs typeface="Arial"/>
            </a:endParaRPr>
          </a:p>
          <a:p>
            <a:r>
              <a:rPr lang="en-US">
                <a:latin typeface="Arial"/>
                <a:cs typeface="Arial"/>
              </a:rPr>
              <a:t>Next to this standard workflow the, we would like to also include a hot-fix branch in our system, so that severe bug fixes for production can be made at all times.</a:t>
            </a:r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03609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1936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35019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4026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63593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3285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Today we would like to present you our team, as well as how we organise and work.</a:t>
            </a:r>
          </a:p>
          <a:p>
            <a:endParaRPr lang="en-GB" noProof="0" dirty="0"/>
          </a:p>
          <a:p>
            <a:r>
              <a:rPr lang="en-GB" noProof="0" dirty="0"/>
              <a:t>Therefore we will show you our organizational tools, our software tools and their setup.</a:t>
            </a:r>
          </a:p>
          <a:p>
            <a:endParaRPr lang="en-GB" noProof="0" dirty="0"/>
          </a:p>
          <a:p>
            <a:r>
              <a:rPr lang="en-GB" noProof="0" dirty="0"/>
              <a:t>We made these choices to guarantee a high level of efficiency within our team and also to provide good code quality which will make </a:t>
            </a:r>
            <a:r>
              <a:rPr lang="en-GB" noProof="0"/>
              <a:t>our lives </a:t>
            </a:r>
            <a:r>
              <a:rPr lang="en-GB" noProof="0" dirty="0"/>
              <a:t>easier at some point throughout </a:t>
            </a:r>
            <a:r>
              <a:rPr lang="en-GB" noProof="0"/>
              <a:t>the project.</a:t>
            </a: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29069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9614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6117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coordinate</a:t>
            </a:r>
            <a:r>
              <a:rPr lang="de-DE"/>
              <a:t> such a large </a:t>
            </a:r>
            <a:r>
              <a:rPr lang="de-DE" err="1"/>
              <a:t>group</a:t>
            </a:r>
            <a:r>
              <a:rPr lang="de-DE"/>
              <a:t>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have</a:t>
            </a:r>
            <a:r>
              <a:rPr lang="de-DE"/>
              <a:t> </a:t>
            </a:r>
            <a:r>
              <a:rPr lang="de-DE" err="1"/>
              <a:t>decid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define</a:t>
            </a:r>
            <a:r>
              <a:rPr lang="de-DE"/>
              <a:t> 4 </a:t>
            </a:r>
            <a:r>
              <a:rPr lang="de-DE" err="1"/>
              <a:t>competence</a:t>
            </a:r>
            <a:r>
              <a:rPr lang="de-DE"/>
              <a:t> </a:t>
            </a:r>
            <a:r>
              <a:rPr lang="de-DE" err="1"/>
              <a:t>groups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so </a:t>
            </a:r>
            <a:r>
              <a:rPr lang="de-DE" err="1"/>
              <a:t>called</a:t>
            </a:r>
            <a:r>
              <a:rPr lang="de-DE"/>
              <a:t> </a:t>
            </a:r>
            <a:r>
              <a:rPr lang="de-DE" err="1"/>
              <a:t>elites</a:t>
            </a:r>
            <a:r>
              <a:rPr lang="de-DE"/>
              <a:t>.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backend, </a:t>
            </a:r>
            <a:r>
              <a:rPr lang="de-DE" err="1"/>
              <a:t>frontend</a:t>
            </a:r>
            <a:r>
              <a:rPr lang="de-DE"/>
              <a:t>, </a:t>
            </a:r>
            <a:r>
              <a:rPr lang="de-DE" err="1"/>
              <a:t>quality</a:t>
            </a:r>
            <a:r>
              <a:rPr lang="de-DE"/>
              <a:t> </a:t>
            </a:r>
            <a:r>
              <a:rPr lang="de-DE" err="1"/>
              <a:t>control</a:t>
            </a:r>
            <a:r>
              <a:rPr lang="de-DE"/>
              <a:t> and </a:t>
            </a:r>
            <a:r>
              <a:rPr lang="de-DE" err="1"/>
              <a:t>report</a:t>
            </a:r>
            <a:r>
              <a:rPr lang="de-DE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err="1"/>
              <a:t>Each</a:t>
            </a:r>
            <a:r>
              <a:rPr lang="de-DE"/>
              <a:t> Elite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assigned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responsible</a:t>
            </a:r>
            <a:r>
              <a:rPr lang="de-DE"/>
              <a:t> </a:t>
            </a:r>
            <a:r>
              <a:rPr lang="de-DE" err="1"/>
              <a:t>person</a:t>
            </a:r>
            <a:r>
              <a:rPr lang="de-DE"/>
              <a:t> </a:t>
            </a:r>
            <a:r>
              <a:rPr lang="de-DE" err="1"/>
              <a:t>who</a:t>
            </a:r>
            <a:r>
              <a:rPr lang="de-DE"/>
              <a:t> </a:t>
            </a:r>
            <a:r>
              <a:rPr lang="de-DE" err="1"/>
              <a:t>coordinates</a:t>
            </a:r>
            <a:r>
              <a:rPr lang="de-DE"/>
              <a:t> </a:t>
            </a:r>
            <a:r>
              <a:rPr lang="de-DE" err="1"/>
              <a:t>subgroups</a:t>
            </a:r>
            <a:r>
              <a:rPr lang="de-DE"/>
              <a:t> and </a:t>
            </a:r>
            <a:r>
              <a:rPr lang="de-DE" err="1"/>
              <a:t>overlooks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ask</a:t>
            </a:r>
            <a:r>
              <a:rPr lang="de-DE"/>
              <a:t> </a:t>
            </a:r>
            <a:r>
              <a:rPr lang="de-DE" err="1"/>
              <a:t>assignments</a:t>
            </a:r>
            <a:r>
              <a:rPr lang="de-DE"/>
              <a:t>.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2906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>
                <a:latin typeface="Arial"/>
                <a:cs typeface="Arial"/>
              </a:rPr>
              <a:t>For</a:t>
            </a:r>
            <a:r>
              <a:rPr lang="de-DE">
                <a:latin typeface="Arial"/>
                <a:cs typeface="Arial"/>
              </a:rPr>
              <a:t> an </a:t>
            </a:r>
            <a:r>
              <a:rPr lang="de-DE" err="1">
                <a:latin typeface="Arial"/>
                <a:cs typeface="Arial"/>
              </a:rPr>
              <a:t>efficen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productivity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w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ar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going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to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use</a:t>
            </a:r>
            <a:r>
              <a:rPr lang="de-DE">
                <a:latin typeface="Arial"/>
                <a:cs typeface="Arial"/>
              </a:rPr>
              <a:t> 4 different </a:t>
            </a:r>
            <a:r>
              <a:rPr lang="de-DE" err="1">
                <a:latin typeface="Arial"/>
                <a:cs typeface="Arial"/>
              </a:rPr>
              <a:t>tools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throughou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th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whole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project</a:t>
            </a:r>
            <a:r>
              <a:rPr lang="de-DE">
                <a:latin typeface="Arial"/>
                <a:cs typeface="Arial"/>
              </a:rPr>
              <a:t>.</a:t>
            </a:r>
          </a:p>
          <a:p>
            <a:r>
              <a:rPr lang="de-DE">
                <a:latin typeface="Arial"/>
                <a:cs typeface="Arial"/>
              </a:rPr>
              <a:t>Jira </a:t>
            </a:r>
            <a:r>
              <a:rPr lang="de-DE" err="1">
                <a:latin typeface="Arial"/>
                <a:cs typeface="Arial"/>
              </a:rPr>
              <a:t>for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projec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management</a:t>
            </a:r>
            <a:endParaRPr lang="de-DE">
              <a:latin typeface="Arial"/>
              <a:cs typeface="Arial"/>
            </a:endParaRPr>
          </a:p>
          <a:p>
            <a:r>
              <a:rPr lang="de-DE" err="1">
                <a:latin typeface="Arial"/>
                <a:cs typeface="Arial"/>
              </a:rPr>
              <a:t>Slack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for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communication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purposes</a:t>
            </a:r>
            <a:endParaRPr lang="de-DE">
              <a:latin typeface="Arial"/>
              <a:cs typeface="Arial"/>
            </a:endParaRPr>
          </a:p>
          <a:p>
            <a:r>
              <a:rPr lang="de-DE" err="1">
                <a:latin typeface="Arial"/>
                <a:cs typeface="Arial"/>
              </a:rPr>
              <a:t>Gitlab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for</a:t>
            </a:r>
            <a:r>
              <a:rPr lang="de-DE">
                <a:latin typeface="Arial"/>
                <a:cs typeface="Arial"/>
              </a:rPr>
              <a:t> code </a:t>
            </a:r>
            <a:r>
              <a:rPr lang="de-DE" err="1">
                <a:latin typeface="Arial"/>
                <a:cs typeface="Arial"/>
              </a:rPr>
              <a:t>versioning</a:t>
            </a:r>
            <a:r>
              <a:rPr lang="de-DE">
                <a:latin typeface="Arial"/>
                <a:cs typeface="Arial"/>
              </a:rPr>
              <a:t> and code </a:t>
            </a:r>
            <a:r>
              <a:rPr lang="de-DE" err="1">
                <a:latin typeface="Arial"/>
                <a:cs typeface="Arial"/>
              </a:rPr>
              <a:t>deployment</a:t>
            </a:r>
            <a:endParaRPr lang="de-DE">
              <a:latin typeface="Arial"/>
              <a:cs typeface="Arial"/>
            </a:endParaRPr>
          </a:p>
          <a:p>
            <a:r>
              <a:rPr lang="de-DE" err="1">
                <a:latin typeface="Arial"/>
                <a:cs typeface="Arial"/>
              </a:rPr>
              <a:t>Sharepoint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for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simultaneously</a:t>
            </a:r>
            <a:r>
              <a:rPr lang="de-DE">
                <a:latin typeface="Arial"/>
                <a:cs typeface="Arial"/>
              </a:rPr>
              <a:t> </a:t>
            </a:r>
            <a:r>
              <a:rPr lang="de-DE" err="1">
                <a:latin typeface="Arial"/>
                <a:cs typeface="Arial"/>
              </a:rPr>
              <a:t>working</a:t>
            </a:r>
            <a:r>
              <a:rPr lang="de-DE">
                <a:latin typeface="Arial"/>
                <a:cs typeface="Arial"/>
              </a:rPr>
              <a:t> on </a:t>
            </a:r>
            <a:r>
              <a:rPr lang="de-DE" err="1">
                <a:latin typeface="Arial"/>
                <a:cs typeface="Arial"/>
              </a:rPr>
              <a:t>documents</a:t>
            </a:r>
            <a:endParaRPr lang="de-DE">
              <a:latin typeface="Arial"/>
              <a:cs typeface="Arial"/>
            </a:endParaRPr>
          </a:p>
          <a:p>
            <a:endParaRPr lang="en-US">
              <a:latin typeface="Arial"/>
              <a:cs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6552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use</a:t>
            </a:r>
            <a:r>
              <a:rPr lang="de-DE"/>
              <a:t> Jira </a:t>
            </a:r>
            <a:r>
              <a:rPr lang="de-DE" err="1"/>
              <a:t>as</a:t>
            </a:r>
            <a:r>
              <a:rPr lang="de-DE"/>
              <a:t> </a:t>
            </a:r>
            <a:r>
              <a:rPr lang="de-DE" err="1"/>
              <a:t>our</a:t>
            </a:r>
            <a:r>
              <a:rPr lang="de-DE"/>
              <a:t> Project Management </a:t>
            </a:r>
            <a:r>
              <a:rPr lang="de-DE" err="1"/>
              <a:t>tool</a:t>
            </a:r>
            <a:r>
              <a:rPr lang="de-DE"/>
              <a:t> </a:t>
            </a:r>
            <a:r>
              <a:rPr lang="de-DE" err="1"/>
              <a:t>where</a:t>
            </a:r>
            <a:r>
              <a:rPr lang="de-DE"/>
              <a:t> </a:t>
            </a:r>
            <a:r>
              <a:rPr lang="de-DE" err="1"/>
              <a:t>tasks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</a:t>
            </a:r>
            <a:r>
              <a:rPr lang="de-DE" err="1"/>
              <a:t>created</a:t>
            </a:r>
            <a:r>
              <a:rPr lang="de-DE"/>
              <a:t> and </a:t>
            </a:r>
            <a:r>
              <a:rPr lang="de-DE" err="1"/>
              <a:t>assigned</a:t>
            </a:r>
            <a:r>
              <a:rPr lang="de-DE"/>
              <a:t>, and </a:t>
            </a:r>
            <a:r>
              <a:rPr lang="de-DE" err="1"/>
              <a:t>progres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tracked</a:t>
            </a:r>
            <a:r>
              <a:rPr lang="de-DE"/>
              <a:t>.</a:t>
            </a:r>
          </a:p>
          <a:p>
            <a:r>
              <a:rPr lang="de-DE"/>
              <a:t>The Jira </a:t>
            </a:r>
            <a:r>
              <a:rPr lang="de-DE" err="1"/>
              <a:t>structure</a:t>
            </a:r>
            <a:r>
              <a:rPr lang="de-DE"/>
              <a:t> </a:t>
            </a:r>
            <a:r>
              <a:rPr lang="de-DE" err="1"/>
              <a:t>breaks</a:t>
            </a:r>
            <a:r>
              <a:rPr lang="de-DE"/>
              <a:t> a </a:t>
            </a:r>
            <a:r>
              <a:rPr lang="de-DE" err="1"/>
              <a:t>problem</a:t>
            </a:r>
            <a:r>
              <a:rPr lang="de-DE"/>
              <a:t> down </a:t>
            </a:r>
            <a:r>
              <a:rPr lang="de-DE" err="1"/>
              <a:t>into</a:t>
            </a:r>
            <a:r>
              <a:rPr lang="de-DE"/>
              <a:t> </a:t>
            </a:r>
            <a:r>
              <a:rPr lang="de-DE" err="1"/>
              <a:t>smaller</a:t>
            </a:r>
            <a:r>
              <a:rPr lang="de-DE"/>
              <a:t> </a:t>
            </a:r>
            <a:r>
              <a:rPr lang="de-DE" err="1"/>
              <a:t>part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make</a:t>
            </a:r>
            <a:r>
              <a:rPr lang="de-DE"/>
              <a:t>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easier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ackl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divide </a:t>
            </a:r>
            <a:r>
              <a:rPr lang="de-DE" err="1"/>
              <a:t>our</a:t>
            </a:r>
            <a:r>
              <a:rPr lang="de-DE"/>
              <a:t> </a:t>
            </a:r>
            <a:r>
              <a:rPr lang="de-DE" err="1"/>
              <a:t>project</a:t>
            </a:r>
            <a:r>
              <a:rPr lang="de-DE"/>
              <a:t> </a:t>
            </a:r>
            <a:r>
              <a:rPr lang="de-DE" err="1"/>
              <a:t>into</a:t>
            </a:r>
            <a:r>
              <a:rPr lang="de-DE"/>
              <a:t> </a:t>
            </a:r>
            <a:r>
              <a:rPr lang="de-DE" err="1"/>
              <a:t>Epics</a:t>
            </a:r>
            <a:r>
              <a:rPr lang="de-DE"/>
              <a:t>, Stories and Tasks.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80419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n </a:t>
            </a:r>
            <a:r>
              <a:rPr lang="de-DE" dirty="0" err="1"/>
              <a:t>epic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arges </a:t>
            </a:r>
            <a:r>
              <a:rPr lang="de-DE" dirty="0" err="1"/>
              <a:t>body</a:t>
            </a:r>
            <a:r>
              <a:rPr lang="de-DE" dirty="0"/>
              <a:t> of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broken</a:t>
            </a:r>
            <a:r>
              <a:rPr lang="de-DE" dirty="0"/>
              <a:t> </a:t>
            </a:r>
            <a:r>
              <a:rPr lang="de-DE" dirty="0" err="1"/>
              <a:t>dwon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smaller</a:t>
            </a:r>
            <a:r>
              <a:rPr lang="de-DE" dirty="0"/>
              <a:t> </a:t>
            </a:r>
            <a:r>
              <a:rPr lang="de-DE" dirty="0" err="1"/>
              <a:t>stories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A Story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featur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functionality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r‘s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of </a:t>
            </a:r>
            <a:r>
              <a:rPr lang="de-DE" dirty="0" err="1"/>
              <a:t>view</a:t>
            </a:r>
            <a:r>
              <a:rPr lang="de-DE" dirty="0"/>
              <a:t> and </a:t>
            </a:r>
            <a:r>
              <a:rPr lang="de-DE" dirty="0" err="1"/>
              <a:t>always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a </a:t>
            </a:r>
            <a:r>
              <a:rPr lang="de-DE" dirty="0" err="1"/>
              <a:t>parent</a:t>
            </a:r>
            <a:r>
              <a:rPr lang="de-DE" dirty="0"/>
              <a:t> </a:t>
            </a:r>
            <a:r>
              <a:rPr lang="de-DE" dirty="0" err="1"/>
              <a:t>epic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A Task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malles</a:t>
            </a:r>
            <a:r>
              <a:rPr lang="de-DE" dirty="0"/>
              <a:t> </a:t>
            </a:r>
            <a:r>
              <a:rPr lang="de-DE" dirty="0" err="1"/>
              <a:t>piece</a:t>
            </a:r>
            <a:r>
              <a:rPr lang="de-DE" dirty="0"/>
              <a:t> of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racked</a:t>
            </a:r>
            <a:r>
              <a:rPr lang="de-DE" dirty="0"/>
              <a:t>.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breaks</a:t>
            </a:r>
            <a:r>
              <a:rPr lang="de-DE" dirty="0"/>
              <a:t> a </a:t>
            </a:r>
            <a:r>
              <a:rPr lang="de-DE" dirty="0" err="1"/>
              <a:t>story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down and </a:t>
            </a:r>
            <a:r>
              <a:rPr lang="de-DE" dirty="0" err="1"/>
              <a:t>always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an </a:t>
            </a:r>
            <a:r>
              <a:rPr lang="de-DE" dirty="0" err="1"/>
              <a:t>assignee</a:t>
            </a:r>
            <a:r>
              <a:rPr lang="de-DE" dirty="0"/>
              <a:t> </a:t>
            </a:r>
            <a:r>
              <a:rPr lang="de-DE" dirty="0" err="1"/>
              <a:t>who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sponsibl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implementa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9569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3195"/>
            <a:r>
              <a:rPr lang="en-GB" dirty="0">
                <a:latin typeface="Arial"/>
                <a:cs typeface="Arial"/>
              </a:rPr>
              <a:t>Here you can see our current JIRA roadmap. The purple squares represent an epic, the green squares represent a story. </a:t>
            </a:r>
          </a:p>
          <a:p>
            <a:pPr marL="163195"/>
            <a:endParaRPr lang="en-GB" dirty="0">
              <a:latin typeface="Arial"/>
              <a:cs typeface="Arial"/>
            </a:endParaRPr>
          </a:p>
          <a:p>
            <a:pPr marL="163195"/>
            <a:r>
              <a:rPr lang="en-GB" dirty="0">
                <a:latin typeface="Arial"/>
                <a:cs typeface="Arial"/>
              </a:rPr>
              <a:t>The stories then contain multiple tasks which, as mentioned earlier, are always assigned to an assignee and a sprint.</a:t>
            </a:r>
            <a:endParaRPr lang="en-GB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53271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3513" indent="0">
              <a:buFont typeface="Wingdings" panose="05000000000000000000" pitchFamily="2" charset="2"/>
              <a:buNone/>
            </a:pPr>
            <a:r>
              <a:rPr lang="en-GB" dirty="0"/>
              <a:t>A sprint is a short, repeating block of time in which key parts, in our case tasks, of the project are completed. </a:t>
            </a:r>
          </a:p>
          <a:p>
            <a:pPr marL="163513" indent="0">
              <a:buFont typeface="Wingdings" panose="05000000000000000000" pitchFamily="2" charset="2"/>
              <a:buNone/>
            </a:pPr>
            <a:endParaRPr lang="en-GB" dirty="0"/>
          </a:p>
          <a:p>
            <a:pPr marL="163513" indent="0">
              <a:buFont typeface="Wingdings" panose="05000000000000000000" pitchFamily="2" charset="2"/>
              <a:buNone/>
            </a:pPr>
            <a:r>
              <a:rPr lang="en-GB" dirty="0"/>
              <a:t>We chose the duration of a sprint to be 2 weeks. Several stories of different or the same epic can be completed in the same sprint period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64077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Präsentationsmuster</a:t>
            </a:r>
            <a:br>
              <a:rPr lang="de-DE" noProof="0"/>
            </a:br>
            <a:br>
              <a:rPr lang="de-DE" noProof="0"/>
            </a:br>
            <a:r>
              <a:rPr lang="de-DE" noProof="0"/>
              <a:t>kann auch als </a:t>
            </a:r>
            <a:r>
              <a:rPr lang="de-DE" noProof="0" err="1"/>
              <a:t>Kapiteltrenner</a:t>
            </a:r>
            <a:r>
              <a:rPr lang="de-DE" noProof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88" y="28619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788845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/>
              <a:t>Referent</a:t>
            </a:r>
            <a:br>
              <a:rPr lang="de-DE" noProof="0"/>
            </a:br>
            <a:r>
              <a:rPr lang="de-DE" noProof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7500" y="772597"/>
            <a:ext cx="8508999" cy="404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7501" y="282065"/>
            <a:ext cx="7891317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319928"/>
            <a:ext cx="8508999" cy="3366372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300364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762678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0" y="770795"/>
            <a:ext cx="4180910" cy="3884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4002" y="770794"/>
            <a:ext cx="4180910" cy="3884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/>
              <a:t>Inhal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262449"/>
            <a:ext cx="7821445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pl-PL" noProof="0"/>
              <a:t>Pecha Kucha by Group 4</a:t>
            </a:r>
            <a:endParaRPr lang="de-DE" noProof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8778D7-668D-4A1E-8551-33378BF853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68497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8778D7-668D-4A1E-8551-33378BF85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7829538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0DA675F1-802B-41C3-8E3B-0BC107DD15D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63390" y="323850"/>
            <a:ext cx="604837" cy="319088"/>
            <a:chOff x="5177" y="204"/>
            <a:chExt cx="381" cy="201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1278AFA4-DDC6-42D4-A3F1-255C64185FE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BC130FD9-BFBD-4E3E-B211-7A63652DB2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2ABAD96-6BED-4CBD-ACB8-6A15D960E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6684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2ABAD96-6BED-4CBD-ACB8-6A15D960E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6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7102FA-13DD-410F-ACFD-3E0A64EE70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46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7102FA-13DD-410F-ACFD-3E0A64EE70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Lehrstuhl für Datenverarbeitung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Fakultät für Elektrotechnik und Informationstechnik</a:t>
            </a:r>
          </a:p>
          <a:p>
            <a:pPr>
              <a:lnSpc>
                <a:spcPts val="900"/>
              </a:lnSpc>
            </a:pPr>
            <a:r>
              <a:rPr lang="de-DE" sz="800">
                <a:solidFill>
                  <a:schemeClr val="tx2"/>
                </a:solidFill>
                <a:latin typeface="+mn-lt"/>
              </a:rPr>
              <a:t>Technische Universität</a:t>
            </a:r>
            <a:r>
              <a:rPr lang="de-DE" sz="800" baseline="0">
                <a:solidFill>
                  <a:schemeClr val="tx2"/>
                </a:solidFill>
                <a:latin typeface="+mn-lt"/>
              </a:rPr>
              <a:t> München</a:t>
            </a:r>
            <a:endParaRPr lang="de-DE" sz="80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DEB43FDA-C21A-4028-9F9D-04F9B847508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380802" y="163513"/>
            <a:ext cx="987425" cy="479425"/>
            <a:chOff x="4936" y="103"/>
            <a:chExt cx="622" cy="302"/>
          </a:xfrm>
        </p:grpSpPr>
        <p:sp>
          <p:nvSpPr>
            <p:cNvPr id="3" name="AutoShape 3">
              <a:extLst>
                <a:ext uri="{FF2B5EF4-FFF2-40B4-BE49-F238E27FC236}">
                  <a16:creationId xmlns:a16="http://schemas.microsoft.com/office/drawing/2014/main" id="{ABFAEBC5-4896-456F-AAD6-30E9B4EC63E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936" y="103"/>
              <a:ext cx="622" cy="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B5326C43-7159-488F-B003-343C26BFF0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C6E8E4-7612-44D7-95DA-256B9BE87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48108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C6E8E4-7612-44D7-95DA-256B9BE87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776177CA-BC2D-4BD9-B4D9-4A6D15383F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778888" y="323850"/>
            <a:ext cx="604837" cy="319088"/>
            <a:chOff x="5177" y="204"/>
            <a:chExt cx="381" cy="201"/>
          </a:xfrm>
        </p:grpSpPr>
        <p:sp>
          <p:nvSpPr>
            <p:cNvPr id="4" name="AutoShape 3">
              <a:extLst>
                <a:ext uri="{FF2B5EF4-FFF2-40B4-BE49-F238E27FC236}">
                  <a16:creationId xmlns:a16="http://schemas.microsoft.com/office/drawing/2014/main" id="{9C8D5BA2-685A-4357-9CD4-C0DA2A2EDB1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5177" y="204"/>
              <a:ext cx="38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10AAF334-35CA-488F-A06A-A270FC9254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7" y="204"/>
              <a:ext cx="381" cy="201"/>
            </a:xfrm>
            <a:custGeom>
              <a:avLst/>
              <a:gdLst>
                <a:gd name="T0" fmla="*/ 0 w 4953"/>
                <a:gd name="T1" fmla="*/ 0 h 2613"/>
                <a:gd name="T2" fmla="*/ 1940 w 4953"/>
                <a:gd name="T3" fmla="*/ 0 h 2613"/>
                <a:gd name="T4" fmla="*/ 1940 w 4953"/>
                <a:gd name="T5" fmla="*/ 2144 h 2613"/>
                <a:gd name="T6" fmla="*/ 2474 w 4953"/>
                <a:gd name="T7" fmla="*/ 2144 h 2613"/>
                <a:gd name="T8" fmla="*/ 2474 w 4953"/>
                <a:gd name="T9" fmla="*/ 0 h 2613"/>
                <a:gd name="T10" fmla="*/ 4953 w 4953"/>
                <a:gd name="T11" fmla="*/ 0 h 2613"/>
                <a:gd name="T12" fmla="*/ 4953 w 4953"/>
                <a:gd name="T13" fmla="*/ 2613 h 2613"/>
                <a:gd name="T14" fmla="*/ 4485 w 4953"/>
                <a:gd name="T15" fmla="*/ 2613 h 2613"/>
                <a:gd name="T16" fmla="*/ 4485 w 4953"/>
                <a:gd name="T17" fmla="*/ 469 h 2613"/>
                <a:gd name="T18" fmla="*/ 3947 w 4953"/>
                <a:gd name="T19" fmla="*/ 469 h 2613"/>
                <a:gd name="T20" fmla="*/ 3947 w 4953"/>
                <a:gd name="T21" fmla="*/ 2613 h 2613"/>
                <a:gd name="T22" fmla="*/ 3479 w 4953"/>
                <a:gd name="T23" fmla="*/ 2613 h 2613"/>
                <a:gd name="T24" fmla="*/ 3479 w 4953"/>
                <a:gd name="T25" fmla="*/ 469 h 2613"/>
                <a:gd name="T26" fmla="*/ 2942 w 4953"/>
                <a:gd name="T27" fmla="*/ 469 h 2613"/>
                <a:gd name="T28" fmla="*/ 2942 w 4953"/>
                <a:gd name="T29" fmla="*/ 2613 h 2613"/>
                <a:gd name="T30" fmla="*/ 1471 w 4953"/>
                <a:gd name="T31" fmla="*/ 2613 h 2613"/>
                <a:gd name="T32" fmla="*/ 1471 w 4953"/>
                <a:gd name="T33" fmla="*/ 469 h 2613"/>
                <a:gd name="T34" fmla="*/ 936 w 4953"/>
                <a:gd name="T35" fmla="*/ 469 h 2613"/>
                <a:gd name="T36" fmla="*/ 936 w 4953"/>
                <a:gd name="T37" fmla="*/ 2613 h 2613"/>
                <a:gd name="T38" fmla="*/ 468 w 4953"/>
                <a:gd name="T39" fmla="*/ 2613 h 2613"/>
                <a:gd name="T40" fmla="*/ 468 w 4953"/>
                <a:gd name="T41" fmla="*/ 469 h 2613"/>
                <a:gd name="T42" fmla="*/ 0 w 4953"/>
                <a:gd name="T43" fmla="*/ 469 h 2613"/>
                <a:gd name="T44" fmla="*/ 0 w 4953"/>
                <a:gd name="T45" fmla="*/ 0 h 2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53" h="2613">
                  <a:moveTo>
                    <a:pt x="0" y="0"/>
                  </a:moveTo>
                  <a:lnTo>
                    <a:pt x="1940" y="0"/>
                  </a:lnTo>
                  <a:lnTo>
                    <a:pt x="1940" y="2144"/>
                  </a:lnTo>
                  <a:lnTo>
                    <a:pt x="2474" y="2144"/>
                  </a:lnTo>
                  <a:lnTo>
                    <a:pt x="2474" y="0"/>
                  </a:lnTo>
                  <a:lnTo>
                    <a:pt x="4953" y="0"/>
                  </a:lnTo>
                  <a:lnTo>
                    <a:pt x="4953" y="2613"/>
                  </a:lnTo>
                  <a:lnTo>
                    <a:pt x="4485" y="2613"/>
                  </a:lnTo>
                  <a:lnTo>
                    <a:pt x="4485" y="469"/>
                  </a:lnTo>
                  <a:lnTo>
                    <a:pt x="3947" y="469"/>
                  </a:lnTo>
                  <a:lnTo>
                    <a:pt x="3947" y="2613"/>
                  </a:lnTo>
                  <a:lnTo>
                    <a:pt x="3479" y="2613"/>
                  </a:lnTo>
                  <a:lnTo>
                    <a:pt x="3479" y="469"/>
                  </a:lnTo>
                  <a:lnTo>
                    <a:pt x="2942" y="469"/>
                  </a:lnTo>
                  <a:lnTo>
                    <a:pt x="2942" y="2613"/>
                  </a:lnTo>
                  <a:lnTo>
                    <a:pt x="1471" y="2613"/>
                  </a:lnTo>
                  <a:lnTo>
                    <a:pt x="1471" y="469"/>
                  </a:lnTo>
                  <a:lnTo>
                    <a:pt x="936" y="469"/>
                  </a:lnTo>
                  <a:lnTo>
                    <a:pt x="936" y="2613"/>
                  </a:lnTo>
                  <a:lnTo>
                    <a:pt x="468" y="2613"/>
                  </a:lnTo>
                  <a:lnTo>
                    <a:pt x="468" y="469"/>
                  </a:lnTo>
                  <a:lnTo>
                    <a:pt x="0" y="4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E73EDA-7CBA-4F7F-A0D5-9EE5DF35EA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E73EDA-7CBA-4F7F-A0D5-9EE5DF35EA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1B74693-ED1D-4308-B6D6-5C29DA7B4B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8887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1B74693-ED1D-4308-B6D6-5C29DA7B4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pl-PL"/>
              <a:t>Pecha Kucha by Group 4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4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4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gi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oleObject" Target="../embeddings/oleObject22.bin"/><Relationship Id="rId3" Type="http://schemas.openxmlformats.org/officeDocument/2006/relationships/tags" Target="../tags/tag22.xml"/><Relationship Id="rId7" Type="http://schemas.openxmlformats.org/officeDocument/2006/relationships/oleObject" Target="../embeddings/oleObject19.bin"/><Relationship Id="rId12" Type="http://schemas.openxmlformats.org/officeDocument/2006/relationships/oleObject" Target="../embeddings/oleObject21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notesSlide" Target="../notesSlides/notesSlide16.xml"/><Relationship Id="rId11" Type="http://schemas.openxmlformats.org/officeDocument/2006/relationships/image" Target="../media/image47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23.xml"/><Relationship Id="rId9" Type="http://schemas.openxmlformats.org/officeDocument/2006/relationships/image" Target="../media/image4.gif"/><Relationship Id="rId14" Type="http://schemas.openxmlformats.org/officeDocument/2006/relationships/image" Target="../media/image48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Relationship Id="rId6" Type="http://schemas.openxmlformats.org/officeDocument/2006/relationships/image" Target="../media/image4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gif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12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8.bin"/><Relationship Id="rId11" Type="http://schemas.openxmlformats.org/officeDocument/2006/relationships/oleObject" Target="../embeddings/oleObject10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6.xml"/><Relationship Id="rId9" Type="http://schemas.openxmlformats.org/officeDocument/2006/relationships/oleObject" Target="../embeddings/oleObject9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6.jpe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7.jpeg"/><Relationship Id="rId12" Type="http://schemas.openxmlformats.org/officeDocument/2006/relationships/image" Target="../media/image15.jpe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2.jpeg"/><Relationship Id="rId1" Type="http://schemas.openxmlformats.org/officeDocument/2006/relationships/tags" Target="../tags/tag25.xml"/><Relationship Id="rId6" Type="http://schemas.openxmlformats.org/officeDocument/2006/relationships/image" Target="../media/image4.gif"/><Relationship Id="rId11" Type="http://schemas.openxmlformats.org/officeDocument/2006/relationships/image" Target="../media/image11.jpeg"/><Relationship Id="rId5" Type="http://schemas.openxmlformats.org/officeDocument/2006/relationships/image" Target="../media/image1.emf"/><Relationship Id="rId15" Type="http://schemas.openxmlformats.org/officeDocument/2006/relationships/image" Target="../media/image21.jpeg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9.jpeg"/><Relationship Id="rId1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notesSlide" Target="../notesSlides/notesSlide3.xml"/><Relationship Id="rId21" Type="http://schemas.microsoft.com/office/2007/relationships/hdphoto" Target="../media/hdphoto1.wdp"/><Relationship Id="rId7" Type="http://schemas.openxmlformats.org/officeDocument/2006/relationships/image" Target="../media/image7.jpeg"/><Relationship Id="rId12" Type="http://schemas.openxmlformats.org/officeDocument/2006/relationships/image" Target="../media/image12.png"/><Relationship Id="rId17" Type="http://schemas.openxmlformats.org/officeDocument/2006/relationships/image" Target="../media/image17.jpe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6.jpeg"/><Relationship Id="rId20" Type="http://schemas.openxmlformats.org/officeDocument/2006/relationships/image" Target="../media/image20.png"/><Relationship Id="rId1" Type="http://schemas.openxmlformats.org/officeDocument/2006/relationships/tags" Target="../tags/tag12.xml"/><Relationship Id="rId6" Type="http://schemas.openxmlformats.org/officeDocument/2006/relationships/image" Target="../media/image4.gif"/><Relationship Id="rId11" Type="http://schemas.openxmlformats.org/officeDocument/2006/relationships/image" Target="../media/image11.jpeg"/><Relationship Id="rId24" Type="http://schemas.openxmlformats.org/officeDocument/2006/relationships/image" Target="../media/image23.png"/><Relationship Id="rId5" Type="http://schemas.openxmlformats.org/officeDocument/2006/relationships/image" Target="../media/image1.emf"/><Relationship Id="rId15" Type="http://schemas.openxmlformats.org/officeDocument/2006/relationships/image" Target="../media/image15.jpeg"/><Relationship Id="rId23" Type="http://schemas.openxmlformats.org/officeDocument/2006/relationships/image" Target="../media/image22.jpeg"/><Relationship Id="rId10" Type="http://schemas.openxmlformats.org/officeDocument/2006/relationships/image" Target="../media/image10.jpeg"/><Relationship Id="rId19" Type="http://schemas.openxmlformats.org/officeDocument/2006/relationships/image" Target="../media/image19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jpeg"/><Relationship Id="rId14" Type="http://schemas.openxmlformats.org/officeDocument/2006/relationships/image" Target="../media/image14.png"/><Relationship Id="rId22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gif"/><Relationship Id="rId12" Type="http://schemas.openxmlformats.org/officeDocument/2006/relationships/image" Target="../media/image28.png"/><Relationship Id="rId17" Type="http://schemas.openxmlformats.org/officeDocument/2006/relationships/image" Target="../media/image6.emf"/><Relationship Id="rId2" Type="http://schemas.openxmlformats.org/officeDocument/2006/relationships/tags" Target="../tags/tag14.xml"/><Relationship Id="rId16" Type="http://schemas.openxmlformats.org/officeDocument/2006/relationships/oleObject" Target="../embeddings/oleObject13.bin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27.sv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image" Target="../media/image4.gif"/><Relationship Id="rId5" Type="http://schemas.openxmlformats.org/officeDocument/2006/relationships/image" Target="../media/image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6.png"/><Relationship Id="rId12" Type="http://schemas.openxmlformats.org/officeDocument/2006/relationships/image" Target="../media/image41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4.gif"/><Relationship Id="rId11" Type="http://schemas.openxmlformats.org/officeDocument/2006/relationships/image" Target="../media/image40.png"/><Relationship Id="rId5" Type="http://schemas.openxmlformats.org/officeDocument/2006/relationships/image" Target="../media/image1.emf"/><Relationship Id="rId10" Type="http://schemas.openxmlformats.org/officeDocument/2006/relationships/image" Target="../media/image39.sv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6.png"/><Relationship Id="rId12" Type="http://schemas.openxmlformats.org/officeDocument/2006/relationships/image" Target="../media/image41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4.gif"/><Relationship Id="rId11" Type="http://schemas.openxmlformats.org/officeDocument/2006/relationships/image" Target="../media/image40.png"/><Relationship Id="rId5" Type="http://schemas.openxmlformats.org/officeDocument/2006/relationships/image" Target="../media/image1.emf"/><Relationship Id="rId10" Type="http://schemas.openxmlformats.org/officeDocument/2006/relationships/image" Target="../media/image39.sv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2.png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91D785-B272-4786-84DD-EE06D96B03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599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91D785-B272-4786-84DD-EE06D96B0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19090" y="1046142"/>
            <a:ext cx="8508999" cy="376238"/>
          </a:xfrm>
        </p:spPr>
        <p:txBody>
          <a:bodyPr vert="horz"/>
          <a:lstStyle/>
          <a:p>
            <a:r>
              <a:rPr lang="en-US"/>
              <a:t>Starting the right way – a Pecha Kucha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0"/>
          </p:nvPr>
        </p:nvSpPr>
        <p:spPr>
          <a:xfrm>
            <a:off x="319090" y="2035028"/>
            <a:ext cx="8508999" cy="955594"/>
          </a:xfrm>
        </p:spPr>
        <p:txBody>
          <a:bodyPr/>
          <a:lstStyle/>
          <a:p>
            <a:r>
              <a:rPr lang="en-US" noProof="0"/>
              <a:t>Group 4</a:t>
            </a:r>
          </a:p>
          <a:p>
            <a:r>
              <a:rPr lang="en-US"/>
              <a:t>Amadou, </a:t>
            </a:r>
            <a:r>
              <a:rPr lang="en-US" err="1"/>
              <a:t>Anouar</a:t>
            </a:r>
            <a:r>
              <a:rPr lang="en-US"/>
              <a:t>, Dennis, Gregor, </a:t>
            </a:r>
            <a:r>
              <a:rPr lang="en-US" err="1"/>
              <a:t>Linyan</a:t>
            </a:r>
            <a:r>
              <a:rPr lang="en-US"/>
              <a:t>, Magdalena, Melina, Nils, Thu, </a:t>
            </a:r>
            <a:r>
              <a:rPr lang="en-US" err="1"/>
              <a:t>Xiaogang</a:t>
            </a:r>
            <a:endParaRPr lang="en-US" noProof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/>
          <a:lstStyle/>
          <a:p>
            <a:r>
              <a:rPr lang="de-DE"/>
              <a:t>Jira Workflow Mode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Grafik 5" descr="Ein Bild, das Text enthält.&#10;&#10;Beschreibung automatisch generiert.">
            <a:extLst>
              <a:ext uri="{FF2B5EF4-FFF2-40B4-BE49-F238E27FC236}">
                <a16:creationId xmlns:a16="http://schemas.microsoft.com/office/drawing/2014/main" id="{D97AF522-E812-345E-E0AA-78767CCF62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9088" y="1371642"/>
            <a:ext cx="8291512" cy="2551027"/>
          </a:xfrm>
          <a:prstGeom prst="rect">
            <a:avLst/>
          </a:prstGeom>
        </p:spPr>
      </p:pic>
      <p:sp>
        <p:nvSpPr>
          <p:cNvPr id="7" name="NavigationTriangle">
            <a:extLst>
              <a:ext uri="{FF2B5EF4-FFF2-40B4-BE49-F238E27FC236}">
                <a16:creationId xmlns:a16="http://schemas.microsoft.com/office/drawing/2014/main" id="{5495A93A-AF21-48EF-91E5-844BA4FAE75C}"/>
              </a:ext>
            </a:extLst>
          </p:cNvPr>
          <p:cNvSpPr/>
          <p:nvPr/>
        </p:nvSpPr>
        <p:spPr>
          <a:xfrm rot="16200000">
            <a:off x="8066766" y="-2144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78C954E-17AF-4748-B69D-6FB740BA55CA}"/>
              </a:ext>
            </a:extLst>
          </p:cNvPr>
          <p:cNvGrpSpPr>
            <a:grpSpLocks noChangeAspect="1"/>
          </p:cNvGrpSpPr>
          <p:nvPr/>
        </p:nvGrpSpPr>
        <p:grpSpPr>
          <a:xfrm>
            <a:off x="8611619" y="76851"/>
            <a:ext cx="457200" cy="457200"/>
            <a:chOff x="7324950" y="3200401"/>
            <a:chExt cx="457200" cy="457200"/>
          </a:xfrm>
        </p:grpSpPr>
        <p:sp>
          <p:nvSpPr>
            <p:cNvPr id="10" name="AutoShape 17">
              <a:extLst>
                <a:ext uri="{FF2B5EF4-FFF2-40B4-BE49-F238E27FC236}">
                  <a16:creationId xmlns:a16="http://schemas.microsoft.com/office/drawing/2014/main" id="{DC3E7381-412D-4907-B2F8-F971A86C7F7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778DCED7-AD8D-4B29-B122-07713E1BA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7" y="3230227"/>
              <a:ext cx="402167" cy="398126"/>
            </a:xfrm>
            <a:custGeom>
              <a:avLst/>
              <a:gdLst>
                <a:gd name="T0" fmla="*/ 879 w 879"/>
                <a:gd name="T1" fmla="*/ 273 h 870"/>
                <a:gd name="T2" fmla="*/ 606 w 879"/>
                <a:gd name="T3" fmla="*/ 0 h 870"/>
                <a:gd name="T4" fmla="*/ 333 w 879"/>
                <a:gd name="T5" fmla="*/ 273 h 870"/>
                <a:gd name="T6" fmla="*/ 334 w 879"/>
                <a:gd name="T7" fmla="*/ 296 h 870"/>
                <a:gd name="T8" fmla="*/ 312 w 879"/>
                <a:gd name="T9" fmla="*/ 296 h 870"/>
                <a:gd name="T10" fmla="*/ 292 w 879"/>
                <a:gd name="T11" fmla="*/ 296 h 870"/>
                <a:gd name="T12" fmla="*/ 253 w 879"/>
                <a:gd name="T13" fmla="*/ 261 h 870"/>
                <a:gd name="T14" fmla="*/ 190 w 879"/>
                <a:gd name="T15" fmla="*/ 280 h 870"/>
                <a:gd name="T16" fmla="*/ 131 w 879"/>
                <a:gd name="T17" fmla="*/ 313 h 870"/>
                <a:gd name="T18" fmla="*/ 131 w 879"/>
                <a:gd name="T19" fmla="*/ 366 h 870"/>
                <a:gd name="T20" fmla="*/ 70 w 879"/>
                <a:gd name="T21" fmla="*/ 447 h 870"/>
                <a:gd name="T22" fmla="*/ 22 w 879"/>
                <a:gd name="T23" fmla="*/ 462 h 870"/>
                <a:gd name="T24" fmla="*/ 3 w 879"/>
                <a:gd name="T25" fmla="*/ 593 h 870"/>
                <a:gd name="T26" fmla="*/ 48 w 879"/>
                <a:gd name="T27" fmla="*/ 619 h 870"/>
                <a:gd name="T28" fmla="*/ 66 w 879"/>
                <a:gd name="T29" fmla="*/ 672 h 870"/>
                <a:gd name="T30" fmla="*/ 90 w 879"/>
                <a:gd name="T31" fmla="*/ 718 h 870"/>
                <a:gd name="T32" fmla="*/ 78 w 879"/>
                <a:gd name="T33" fmla="*/ 768 h 870"/>
                <a:gd name="T34" fmla="*/ 181 w 879"/>
                <a:gd name="T35" fmla="*/ 847 h 870"/>
                <a:gd name="T36" fmla="*/ 225 w 879"/>
                <a:gd name="T37" fmla="*/ 820 h 870"/>
                <a:gd name="T38" fmla="*/ 315 w 879"/>
                <a:gd name="T39" fmla="*/ 836 h 870"/>
                <a:gd name="T40" fmla="*/ 336 w 879"/>
                <a:gd name="T41" fmla="*/ 834 h 870"/>
                <a:gd name="T42" fmla="*/ 375 w 879"/>
                <a:gd name="T43" fmla="*/ 870 h 870"/>
                <a:gd name="T44" fmla="*/ 435 w 879"/>
                <a:gd name="T45" fmla="*/ 851 h 870"/>
                <a:gd name="T46" fmla="*/ 491 w 879"/>
                <a:gd name="T47" fmla="*/ 819 h 870"/>
                <a:gd name="T48" fmla="*/ 491 w 879"/>
                <a:gd name="T49" fmla="*/ 768 h 870"/>
                <a:gd name="T50" fmla="*/ 558 w 879"/>
                <a:gd name="T51" fmla="*/ 677 h 870"/>
                <a:gd name="T52" fmla="*/ 606 w 879"/>
                <a:gd name="T53" fmla="*/ 662 h 870"/>
                <a:gd name="T54" fmla="*/ 622 w 879"/>
                <a:gd name="T55" fmla="*/ 548 h 870"/>
                <a:gd name="T56" fmla="*/ 622 w 879"/>
                <a:gd name="T57" fmla="*/ 546 h 870"/>
                <a:gd name="T58" fmla="*/ 879 w 879"/>
                <a:gd name="T59" fmla="*/ 273 h 870"/>
                <a:gd name="T60" fmla="*/ 367 w 879"/>
                <a:gd name="T61" fmla="*/ 690 h 870"/>
                <a:gd name="T62" fmla="*/ 313 w 879"/>
                <a:gd name="T63" fmla="*/ 702 h 870"/>
                <a:gd name="T64" fmla="*/ 189 w 879"/>
                <a:gd name="T65" fmla="*/ 619 h 870"/>
                <a:gd name="T66" fmla="*/ 259 w 879"/>
                <a:gd name="T67" fmla="*/ 442 h 870"/>
                <a:gd name="T68" fmla="*/ 311 w 879"/>
                <a:gd name="T69" fmla="*/ 430 h 870"/>
                <a:gd name="T70" fmla="*/ 436 w 879"/>
                <a:gd name="T71" fmla="*/ 512 h 870"/>
                <a:gd name="T72" fmla="*/ 367 w 879"/>
                <a:gd name="T73" fmla="*/ 690 h 870"/>
                <a:gd name="T74" fmla="*/ 770 w 879"/>
                <a:gd name="T75" fmla="*/ 157 h 870"/>
                <a:gd name="T76" fmla="*/ 636 w 879"/>
                <a:gd name="T77" fmla="*/ 273 h 870"/>
                <a:gd name="T78" fmla="*/ 636 w 879"/>
                <a:gd name="T79" fmla="*/ 274 h 870"/>
                <a:gd name="T80" fmla="*/ 606 w 879"/>
                <a:gd name="T81" fmla="*/ 303 h 870"/>
                <a:gd name="T82" fmla="*/ 576 w 879"/>
                <a:gd name="T83" fmla="*/ 275 h 870"/>
                <a:gd name="T84" fmla="*/ 484 w 879"/>
                <a:gd name="T85" fmla="*/ 210 h 870"/>
                <a:gd name="T86" fmla="*/ 481 w 879"/>
                <a:gd name="T87" fmla="*/ 195 h 870"/>
                <a:gd name="T88" fmla="*/ 496 w 879"/>
                <a:gd name="T89" fmla="*/ 191 h 870"/>
                <a:gd name="T90" fmla="*/ 595 w 879"/>
                <a:gd name="T91" fmla="*/ 246 h 870"/>
                <a:gd name="T92" fmla="*/ 606 w 879"/>
                <a:gd name="T93" fmla="*/ 244 h 870"/>
                <a:gd name="T94" fmla="*/ 613 w 879"/>
                <a:gd name="T95" fmla="*/ 245 h 870"/>
                <a:gd name="T96" fmla="*/ 756 w 879"/>
                <a:gd name="T97" fmla="*/ 138 h 870"/>
                <a:gd name="T98" fmla="*/ 764 w 879"/>
                <a:gd name="T99" fmla="*/ 136 h 870"/>
                <a:gd name="T100" fmla="*/ 772 w 879"/>
                <a:gd name="T101" fmla="*/ 140 h 870"/>
                <a:gd name="T102" fmla="*/ 770 w 879"/>
                <a:gd name="T103" fmla="*/ 157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79" h="870">
                  <a:moveTo>
                    <a:pt x="879" y="273"/>
                  </a:moveTo>
                  <a:cubicBezTo>
                    <a:pt x="879" y="122"/>
                    <a:pt x="757" y="0"/>
                    <a:pt x="606" y="0"/>
                  </a:cubicBezTo>
                  <a:cubicBezTo>
                    <a:pt x="455" y="0"/>
                    <a:pt x="333" y="122"/>
                    <a:pt x="333" y="273"/>
                  </a:cubicBezTo>
                  <a:cubicBezTo>
                    <a:pt x="333" y="281"/>
                    <a:pt x="333" y="289"/>
                    <a:pt x="334" y="296"/>
                  </a:cubicBezTo>
                  <a:cubicBezTo>
                    <a:pt x="326" y="296"/>
                    <a:pt x="319" y="296"/>
                    <a:pt x="312" y="296"/>
                  </a:cubicBezTo>
                  <a:cubicBezTo>
                    <a:pt x="305" y="296"/>
                    <a:pt x="299" y="296"/>
                    <a:pt x="292" y="296"/>
                  </a:cubicBezTo>
                  <a:cubicBezTo>
                    <a:pt x="253" y="261"/>
                    <a:pt x="253" y="261"/>
                    <a:pt x="253" y="261"/>
                  </a:cubicBezTo>
                  <a:cubicBezTo>
                    <a:pt x="233" y="266"/>
                    <a:pt x="211" y="271"/>
                    <a:pt x="190" y="280"/>
                  </a:cubicBezTo>
                  <a:cubicBezTo>
                    <a:pt x="169" y="290"/>
                    <a:pt x="149" y="301"/>
                    <a:pt x="131" y="313"/>
                  </a:cubicBezTo>
                  <a:cubicBezTo>
                    <a:pt x="131" y="366"/>
                    <a:pt x="131" y="366"/>
                    <a:pt x="131" y="366"/>
                  </a:cubicBezTo>
                  <a:cubicBezTo>
                    <a:pt x="106" y="389"/>
                    <a:pt x="85" y="416"/>
                    <a:pt x="70" y="447"/>
                  </a:cubicBezTo>
                  <a:cubicBezTo>
                    <a:pt x="22" y="462"/>
                    <a:pt x="22" y="462"/>
                    <a:pt x="22" y="462"/>
                  </a:cubicBezTo>
                  <a:cubicBezTo>
                    <a:pt x="6" y="503"/>
                    <a:pt x="0" y="547"/>
                    <a:pt x="3" y="593"/>
                  </a:cubicBezTo>
                  <a:cubicBezTo>
                    <a:pt x="48" y="619"/>
                    <a:pt x="48" y="619"/>
                    <a:pt x="48" y="619"/>
                  </a:cubicBezTo>
                  <a:cubicBezTo>
                    <a:pt x="52" y="636"/>
                    <a:pt x="57" y="655"/>
                    <a:pt x="66" y="672"/>
                  </a:cubicBezTo>
                  <a:cubicBezTo>
                    <a:pt x="73" y="688"/>
                    <a:pt x="80" y="704"/>
                    <a:pt x="90" y="718"/>
                  </a:cubicBezTo>
                  <a:cubicBezTo>
                    <a:pt x="78" y="768"/>
                    <a:pt x="78" y="768"/>
                    <a:pt x="78" y="768"/>
                  </a:cubicBezTo>
                  <a:cubicBezTo>
                    <a:pt x="107" y="802"/>
                    <a:pt x="142" y="828"/>
                    <a:pt x="181" y="847"/>
                  </a:cubicBezTo>
                  <a:cubicBezTo>
                    <a:pt x="225" y="820"/>
                    <a:pt x="225" y="820"/>
                    <a:pt x="225" y="820"/>
                  </a:cubicBezTo>
                  <a:cubicBezTo>
                    <a:pt x="253" y="830"/>
                    <a:pt x="283" y="836"/>
                    <a:pt x="315" y="836"/>
                  </a:cubicBezTo>
                  <a:cubicBezTo>
                    <a:pt x="322" y="836"/>
                    <a:pt x="329" y="835"/>
                    <a:pt x="336" y="834"/>
                  </a:cubicBezTo>
                  <a:cubicBezTo>
                    <a:pt x="375" y="870"/>
                    <a:pt x="375" y="870"/>
                    <a:pt x="375" y="870"/>
                  </a:cubicBezTo>
                  <a:cubicBezTo>
                    <a:pt x="394" y="866"/>
                    <a:pt x="415" y="859"/>
                    <a:pt x="435" y="851"/>
                  </a:cubicBezTo>
                  <a:cubicBezTo>
                    <a:pt x="455" y="841"/>
                    <a:pt x="473" y="831"/>
                    <a:pt x="491" y="819"/>
                  </a:cubicBezTo>
                  <a:cubicBezTo>
                    <a:pt x="491" y="768"/>
                    <a:pt x="491" y="768"/>
                    <a:pt x="491" y="768"/>
                  </a:cubicBezTo>
                  <a:cubicBezTo>
                    <a:pt x="520" y="742"/>
                    <a:pt x="542" y="711"/>
                    <a:pt x="558" y="677"/>
                  </a:cubicBezTo>
                  <a:cubicBezTo>
                    <a:pt x="606" y="662"/>
                    <a:pt x="606" y="662"/>
                    <a:pt x="606" y="662"/>
                  </a:cubicBezTo>
                  <a:cubicBezTo>
                    <a:pt x="619" y="626"/>
                    <a:pt x="624" y="587"/>
                    <a:pt x="622" y="548"/>
                  </a:cubicBezTo>
                  <a:cubicBezTo>
                    <a:pt x="622" y="547"/>
                    <a:pt x="622" y="546"/>
                    <a:pt x="622" y="546"/>
                  </a:cubicBezTo>
                  <a:cubicBezTo>
                    <a:pt x="765" y="537"/>
                    <a:pt x="879" y="419"/>
                    <a:pt x="879" y="273"/>
                  </a:cubicBezTo>
                  <a:close/>
                  <a:moveTo>
                    <a:pt x="367" y="690"/>
                  </a:moveTo>
                  <a:cubicBezTo>
                    <a:pt x="349" y="698"/>
                    <a:pt x="331" y="702"/>
                    <a:pt x="313" y="702"/>
                  </a:cubicBezTo>
                  <a:cubicBezTo>
                    <a:pt x="261" y="702"/>
                    <a:pt x="211" y="670"/>
                    <a:pt x="189" y="619"/>
                  </a:cubicBezTo>
                  <a:cubicBezTo>
                    <a:pt x="159" y="550"/>
                    <a:pt x="191" y="471"/>
                    <a:pt x="259" y="442"/>
                  </a:cubicBezTo>
                  <a:cubicBezTo>
                    <a:pt x="276" y="434"/>
                    <a:pt x="294" y="431"/>
                    <a:pt x="311" y="430"/>
                  </a:cubicBezTo>
                  <a:cubicBezTo>
                    <a:pt x="364" y="430"/>
                    <a:pt x="415" y="461"/>
                    <a:pt x="436" y="512"/>
                  </a:cubicBezTo>
                  <a:cubicBezTo>
                    <a:pt x="466" y="580"/>
                    <a:pt x="435" y="661"/>
                    <a:pt x="367" y="690"/>
                  </a:cubicBezTo>
                  <a:close/>
                  <a:moveTo>
                    <a:pt x="770" y="157"/>
                  </a:moveTo>
                  <a:cubicBezTo>
                    <a:pt x="770" y="157"/>
                    <a:pt x="770" y="157"/>
                    <a:pt x="636" y="273"/>
                  </a:cubicBezTo>
                  <a:cubicBezTo>
                    <a:pt x="636" y="273"/>
                    <a:pt x="636" y="273"/>
                    <a:pt x="636" y="274"/>
                  </a:cubicBezTo>
                  <a:cubicBezTo>
                    <a:pt x="636" y="290"/>
                    <a:pt x="622" y="303"/>
                    <a:pt x="606" y="303"/>
                  </a:cubicBezTo>
                  <a:cubicBezTo>
                    <a:pt x="590" y="303"/>
                    <a:pt x="577" y="290"/>
                    <a:pt x="576" y="275"/>
                  </a:cubicBezTo>
                  <a:cubicBezTo>
                    <a:pt x="576" y="275"/>
                    <a:pt x="576" y="275"/>
                    <a:pt x="484" y="210"/>
                  </a:cubicBezTo>
                  <a:cubicBezTo>
                    <a:pt x="478" y="208"/>
                    <a:pt x="477" y="201"/>
                    <a:pt x="481" y="195"/>
                  </a:cubicBezTo>
                  <a:cubicBezTo>
                    <a:pt x="484" y="190"/>
                    <a:pt x="490" y="188"/>
                    <a:pt x="496" y="191"/>
                  </a:cubicBezTo>
                  <a:cubicBezTo>
                    <a:pt x="496" y="191"/>
                    <a:pt x="496" y="191"/>
                    <a:pt x="595" y="246"/>
                  </a:cubicBezTo>
                  <a:cubicBezTo>
                    <a:pt x="599" y="245"/>
                    <a:pt x="602" y="244"/>
                    <a:pt x="606" y="244"/>
                  </a:cubicBezTo>
                  <a:cubicBezTo>
                    <a:pt x="608" y="244"/>
                    <a:pt x="611" y="244"/>
                    <a:pt x="613" y="245"/>
                  </a:cubicBezTo>
                  <a:cubicBezTo>
                    <a:pt x="613" y="245"/>
                    <a:pt x="603" y="254"/>
                    <a:pt x="756" y="138"/>
                  </a:cubicBezTo>
                  <a:cubicBezTo>
                    <a:pt x="758" y="137"/>
                    <a:pt x="762" y="136"/>
                    <a:pt x="764" y="136"/>
                  </a:cubicBezTo>
                  <a:cubicBezTo>
                    <a:pt x="767" y="136"/>
                    <a:pt x="770" y="138"/>
                    <a:pt x="772" y="140"/>
                  </a:cubicBezTo>
                  <a:cubicBezTo>
                    <a:pt x="776" y="145"/>
                    <a:pt x="776" y="153"/>
                    <a:pt x="770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51234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3D338E37-0659-4167-A286-DB8861244E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50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3D338E37-0659-4167-A286-DB8861244E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82065"/>
            <a:ext cx="8208818" cy="374911"/>
          </a:xfrm>
        </p:spPr>
        <p:txBody>
          <a:bodyPr vert="horz"/>
          <a:lstStyle/>
          <a:p>
            <a:r>
              <a:rPr lang="de-DE" sz="2200"/>
              <a:t>Creating an environment for </a:t>
            </a:r>
            <a:r>
              <a:rPr lang="de-DE" sz="2200">
                <a:ea typeface="+mj-lt"/>
                <a:cs typeface="+mj-lt"/>
              </a:rPr>
              <a:t>improvement through code review</a:t>
            </a:r>
            <a:endParaRPr lang="nb-NO" sz="220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e 8">
            <a:extLst>
              <a:ext uri="{FF2B5EF4-FFF2-40B4-BE49-F238E27FC236}">
                <a16:creationId xmlns:a16="http://schemas.microsoft.com/office/drawing/2014/main" id="{5C856F68-C782-3144-3FC4-4E936F515F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4739193" y="1308206"/>
            <a:ext cx="4315340" cy="2876616"/>
          </a:xfr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6EFC3EA5-789D-48E7-0D71-48EF0B275024}"/>
              </a:ext>
            </a:extLst>
          </p:cNvPr>
          <p:cNvSpPr txBox="1"/>
          <p:nvPr/>
        </p:nvSpPr>
        <p:spPr>
          <a:xfrm>
            <a:off x="793187" y="1153088"/>
            <a:ext cx="3900025" cy="14151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3999"/>
              </a:lnSpc>
            </a:pPr>
            <a:r>
              <a:rPr lang="nb-NO">
                <a:latin typeface="Arial"/>
                <a:cs typeface="Arial"/>
              </a:rPr>
              <a:t>Technical:</a:t>
            </a:r>
            <a:endParaRPr lang="nb-NO" b="1">
              <a:latin typeface="Arial"/>
              <a:cs typeface="Arial"/>
            </a:endParaRPr>
          </a:p>
          <a:p>
            <a:pPr marL="285750" indent="-285750">
              <a:lnSpc>
                <a:spcPct val="113999"/>
              </a:lnSpc>
              <a:buFont typeface="Arial,Sans-Serif"/>
              <a:buChar char="•"/>
            </a:pPr>
            <a:r>
              <a:rPr lang="nb-NO" sz="1600">
                <a:latin typeface="Arial"/>
                <a:cs typeface="Arial"/>
              </a:rPr>
              <a:t>Adding </a:t>
            </a:r>
            <a:r>
              <a:rPr lang="nb-NO" sz="1600" b="1">
                <a:latin typeface="Arial"/>
                <a:cs typeface="Arial"/>
              </a:rPr>
              <a:t>reinspection</a:t>
            </a:r>
            <a:endParaRPr lang="nb-NO" sz="1600">
              <a:latin typeface="Arial"/>
              <a:cs typeface="Arial"/>
            </a:endParaRPr>
          </a:p>
          <a:p>
            <a:pPr lvl="1">
              <a:lnSpc>
                <a:spcPct val="113999"/>
              </a:lnSpc>
            </a:pPr>
            <a:r>
              <a:rPr lang="nb-NO" sz="1600">
                <a:latin typeface="Arial"/>
                <a:cs typeface="Arial"/>
              </a:rPr>
              <a:t>"One code two brains"</a:t>
            </a:r>
          </a:p>
          <a:p>
            <a:pPr marL="285750" indent="-285750">
              <a:lnSpc>
                <a:spcPct val="113999"/>
              </a:lnSpc>
              <a:buFont typeface="Arial,Sans-Serif"/>
              <a:buChar char="•"/>
            </a:pPr>
            <a:r>
              <a:rPr lang="nb-NO" sz="1600">
                <a:latin typeface="Arial"/>
                <a:cs typeface="Arial"/>
              </a:rPr>
              <a:t>Aligning </a:t>
            </a:r>
            <a:r>
              <a:rPr lang="nb-NO" sz="1600" b="1">
                <a:latin typeface="Arial"/>
                <a:cs typeface="Arial"/>
              </a:rPr>
              <a:t>coding styles</a:t>
            </a:r>
            <a:endParaRPr lang="nb-NO" b="1"/>
          </a:p>
          <a:p>
            <a:pPr marL="285750" indent="-285750">
              <a:lnSpc>
                <a:spcPct val="113999"/>
              </a:lnSpc>
              <a:buFont typeface="Arial,Sans-Serif"/>
              <a:buChar char="•"/>
            </a:pPr>
            <a:r>
              <a:rPr lang="nb-NO" sz="1600">
                <a:latin typeface="Arial"/>
                <a:cs typeface="Arial"/>
              </a:rPr>
              <a:t>Increasing </a:t>
            </a:r>
            <a:r>
              <a:rPr lang="nb-NO" sz="1600" b="1">
                <a:latin typeface="Arial"/>
                <a:cs typeface="Arial"/>
              </a:rPr>
              <a:t>code quality 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7AB5DE-7770-46AE-A463-93B1A5951B47}"/>
              </a:ext>
            </a:extLst>
          </p:cNvPr>
          <p:cNvSpPr txBox="1"/>
          <p:nvPr/>
        </p:nvSpPr>
        <p:spPr>
          <a:xfrm>
            <a:off x="729049" y="2902271"/>
            <a:ext cx="3842951" cy="169591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lnSpc>
                <a:spcPct val="113999"/>
              </a:lnSpc>
              <a:defRPr sz="1600">
                <a:latin typeface="Arial"/>
                <a:cs typeface="Arial"/>
              </a:defRPr>
            </a:lvl1pPr>
          </a:lstStyle>
          <a:p>
            <a:r>
              <a:rPr lang="nb-NO" sz="1800"/>
              <a:t>Interpersonal</a:t>
            </a:r>
            <a:r>
              <a:rPr lang="nb-NO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Improving </a:t>
            </a:r>
            <a:r>
              <a:rPr lang="nb-NO" b="1"/>
              <a:t>collabo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Creating a </a:t>
            </a:r>
            <a:r>
              <a:rPr lang="nb-NO" b="1"/>
              <a:t>learning opportunity </a:t>
            </a:r>
            <a:r>
              <a:rPr lang="nb-NO"/>
              <a:t>for both par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Awareness of </a:t>
            </a:r>
            <a:r>
              <a:rPr lang="nb-NO" b="1"/>
              <a:t>how</a:t>
            </a:r>
            <a:r>
              <a:rPr lang="nb-NO"/>
              <a:t> </a:t>
            </a:r>
            <a:r>
              <a:rPr lang="nb-NO" b="1"/>
              <a:t>feedback</a:t>
            </a:r>
            <a:r>
              <a:rPr lang="nb-NO"/>
              <a:t> is giv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Magnifying project </a:t>
            </a:r>
            <a:r>
              <a:rPr lang="nb-NO" b="1"/>
              <a:t>knowledg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C1BCD3B-2D8D-46EE-BB0D-968343CA0497}"/>
              </a:ext>
            </a:extLst>
          </p:cNvPr>
          <p:cNvGrpSpPr>
            <a:grpSpLocks noChangeAspect="1"/>
          </p:cNvGrpSpPr>
          <p:nvPr/>
        </p:nvGrpSpPr>
        <p:grpSpPr>
          <a:xfrm>
            <a:off x="199767" y="2771228"/>
            <a:ext cx="457200" cy="457200"/>
            <a:chOff x="7324949" y="3200401"/>
            <a:chExt cx="457200" cy="457200"/>
          </a:xfrm>
        </p:grpSpPr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BF7DCA1B-9416-46AA-82B2-0A87D95545A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49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F347504A-171C-4C9A-B378-6D679F5C6F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4570" y="3278718"/>
              <a:ext cx="438535" cy="301144"/>
            </a:xfrm>
            <a:custGeom>
              <a:avLst/>
              <a:gdLst>
                <a:gd name="T0" fmla="*/ 448 w 958"/>
                <a:gd name="T1" fmla="*/ 115 h 658"/>
                <a:gd name="T2" fmla="*/ 412 w 958"/>
                <a:gd name="T3" fmla="*/ 136 h 658"/>
                <a:gd name="T4" fmla="*/ 359 w 958"/>
                <a:gd name="T5" fmla="*/ 190 h 658"/>
                <a:gd name="T6" fmla="*/ 354 w 958"/>
                <a:gd name="T7" fmla="*/ 136 h 658"/>
                <a:gd name="T8" fmla="*/ 295 w 958"/>
                <a:gd name="T9" fmla="*/ 115 h 658"/>
                <a:gd name="T10" fmla="*/ 317 w 958"/>
                <a:gd name="T11" fmla="*/ 0 h 658"/>
                <a:gd name="T12" fmla="*/ 448 w 958"/>
                <a:gd name="T13" fmla="*/ 22 h 658"/>
                <a:gd name="T14" fmla="*/ 612 w 958"/>
                <a:gd name="T15" fmla="*/ 208 h 658"/>
                <a:gd name="T16" fmla="*/ 649 w 958"/>
                <a:gd name="T17" fmla="*/ 158 h 658"/>
                <a:gd name="T18" fmla="*/ 671 w 958"/>
                <a:gd name="T19" fmla="*/ 44 h 658"/>
                <a:gd name="T20" fmla="*/ 501 w 958"/>
                <a:gd name="T21" fmla="*/ 22 h 658"/>
                <a:gd name="T22" fmla="*/ 492 w 958"/>
                <a:gd name="T23" fmla="*/ 24 h 658"/>
                <a:gd name="T24" fmla="*/ 480 w 958"/>
                <a:gd name="T25" fmla="*/ 136 h 658"/>
                <a:gd name="T26" fmla="*/ 501 w 958"/>
                <a:gd name="T27" fmla="*/ 158 h 658"/>
                <a:gd name="T28" fmla="*/ 600 w 958"/>
                <a:gd name="T29" fmla="*/ 208 h 658"/>
                <a:gd name="T30" fmla="*/ 385 w 958"/>
                <a:gd name="T31" fmla="*/ 417 h 658"/>
                <a:gd name="T32" fmla="*/ 360 w 958"/>
                <a:gd name="T33" fmla="*/ 475 h 658"/>
                <a:gd name="T34" fmla="*/ 351 w 958"/>
                <a:gd name="T35" fmla="*/ 563 h 658"/>
                <a:gd name="T36" fmla="*/ 265 w 958"/>
                <a:gd name="T37" fmla="*/ 572 h 658"/>
                <a:gd name="T38" fmla="*/ 256 w 958"/>
                <a:gd name="T39" fmla="*/ 658 h 658"/>
                <a:gd name="T40" fmla="*/ 135 w 958"/>
                <a:gd name="T41" fmla="*/ 631 h 658"/>
                <a:gd name="T42" fmla="*/ 130 w 958"/>
                <a:gd name="T43" fmla="*/ 558 h 658"/>
                <a:gd name="T44" fmla="*/ 214 w 958"/>
                <a:gd name="T45" fmla="*/ 212 h 658"/>
                <a:gd name="T46" fmla="*/ 365 w 958"/>
                <a:gd name="T47" fmla="*/ 293 h 658"/>
                <a:gd name="T48" fmla="*/ 361 w 958"/>
                <a:gd name="T49" fmla="*/ 313 h 658"/>
                <a:gd name="T50" fmla="*/ 366 w 958"/>
                <a:gd name="T51" fmla="*/ 387 h 658"/>
                <a:gd name="T52" fmla="*/ 382 w 958"/>
                <a:gd name="T53" fmla="*/ 448 h 658"/>
                <a:gd name="T54" fmla="*/ 347 w 958"/>
                <a:gd name="T55" fmla="*/ 394 h 658"/>
                <a:gd name="T56" fmla="*/ 250 w 958"/>
                <a:gd name="T57" fmla="*/ 412 h 658"/>
                <a:gd name="T58" fmla="*/ 248 w 958"/>
                <a:gd name="T59" fmla="*/ 407 h 658"/>
                <a:gd name="T60" fmla="*/ 172 w 958"/>
                <a:gd name="T61" fmla="*/ 430 h 658"/>
                <a:gd name="T62" fmla="*/ 150 w 958"/>
                <a:gd name="T63" fmla="*/ 550 h 658"/>
                <a:gd name="T64" fmla="*/ 150 w 958"/>
                <a:gd name="T65" fmla="*/ 550 h 658"/>
                <a:gd name="T66" fmla="*/ 150 w 958"/>
                <a:gd name="T67" fmla="*/ 551 h 658"/>
                <a:gd name="T68" fmla="*/ 245 w 958"/>
                <a:gd name="T69" fmla="*/ 638 h 658"/>
                <a:gd name="T70" fmla="*/ 250 w 958"/>
                <a:gd name="T71" fmla="*/ 553 h 658"/>
                <a:gd name="T72" fmla="*/ 296 w 958"/>
                <a:gd name="T73" fmla="*/ 554 h 658"/>
                <a:gd name="T74" fmla="*/ 339 w 958"/>
                <a:gd name="T75" fmla="*/ 465 h 658"/>
                <a:gd name="T76" fmla="*/ 351 w 958"/>
                <a:gd name="T77" fmla="*/ 454 h 658"/>
                <a:gd name="T78" fmla="*/ 828 w 958"/>
                <a:gd name="T79" fmla="*/ 558 h 658"/>
                <a:gd name="T80" fmla="*/ 823 w 958"/>
                <a:gd name="T81" fmla="*/ 631 h 658"/>
                <a:gd name="T82" fmla="*/ 702 w 958"/>
                <a:gd name="T83" fmla="*/ 658 h 658"/>
                <a:gd name="T84" fmla="*/ 693 w 958"/>
                <a:gd name="T85" fmla="*/ 572 h 658"/>
                <a:gd name="T86" fmla="*/ 607 w 958"/>
                <a:gd name="T87" fmla="*/ 563 h 658"/>
                <a:gd name="T88" fmla="*/ 598 w 958"/>
                <a:gd name="T89" fmla="*/ 475 h 658"/>
                <a:gd name="T90" fmla="*/ 573 w 958"/>
                <a:gd name="T91" fmla="*/ 417 h 658"/>
                <a:gd name="T92" fmla="*/ 597 w 958"/>
                <a:gd name="T93" fmla="*/ 318 h 658"/>
                <a:gd name="T94" fmla="*/ 593 w 958"/>
                <a:gd name="T95" fmla="*/ 296 h 658"/>
                <a:gd name="T96" fmla="*/ 730 w 958"/>
                <a:gd name="T97" fmla="*/ 213 h 658"/>
                <a:gd name="T98" fmla="*/ 901 w 958"/>
                <a:gd name="T99" fmla="*/ 303 h 658"/>
                <a:gd name="T100" fmla="*/ 786 w 958"/>
                <a:gd name="T101" fmla="*/ 430 h 658"/>
                <a:gd name="T102" fmla="*/ 710 w 958"/>
                <a:gd name="T103" fmla="*/ 407 h 658"/>
                <a:gd name="T104" fmla="*/ 708 w 958"/>
                <a:gd name="T105" fmla="*/ 412 h 658"/>
                <a:gd name="T106" fmla="*/ 611 w 958"/>
                <a:gd name="T107" fmla="*/ 394 h 658"/>
                <a:gd name="T108" fmla="*/ 576 w 958"/>
                <a:gd name="T109" fmla="*/ 448 h 658"/>
                <a:gd name="T110" fmla="*/ 615 w 958"/>
                <a:gd name="T111" fmla="*/ 457 h 658"/>
                <a:gd name="T112" fmla="*/ 621 w 958"/>
                <a:gd name="T113" fmla="*/ 549 h 658"/>
                <a:gd name="T114" fmla="*/ 701 w 958"/>
                <a:gd name="T115" fmla="*/ 551 h 658"/>
                <a:gd name="T116" fmla="*/ 713 w 958"/>
                <a:gd name="T117" fmla="*/ 561 h 658"/>
                <a:gd name="T118" fmla="*/ 808 w 958"/>
                <a:gd name="T119" fmla="*/ 616 h 658"/>
                <a:gd name="T120" fmla="*/ 808 w 958"/>
                <a:gd name="T121" fmla="*/ 550 h 658"/>
                <a:gd name="T122" fmla="*/ 808 w 958"/>
                <a:gd name="T123" fmla="*/ 549 h 658"/>
                <a:gd name="T124" fmla="*/ 827 w 958"/>
                <a:gd name="T125" fmla="*/ 504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8" h="658">
                  <a:moveTo>
                    <a:pt x="448" y="22"/>
                  </a:moveTo>
                  <a:cubicBezTo>
                    <a:pt x="448" y="115"/>
                    <a:pt x="448" y="115"/>
                    <a:pt x="448" y="115"/>
                  </a:cubicBezTo>
                  <a:cubicBezTo>
                    <a:pt x="448" y="122"/>
                    <a:pt x="449" y="130"/>
                    <a:pt x="452" y="136"/>
                  </a:cubicBezTo>
                  <a:cubicBezTo>
                    <a:pt x="412" y="136"/>
                    <a:pt x="412" y="136"/>
                    <a:pt x="412" y="136"/>
                  </a:cubicBezTo>
                  <a:cubicBezTo>
                    <a:pt x="393" y="155"/>
                    <a:pt x="372" y="180"/>
                    <a:pt x="366" y="186"/>
                  </a:cubicBezTo>
                  <a:cubicBezTo>
                    <a:pt x="363" y="189"/>
                    <a:pt x="361" y="190"/>
                    <a:pt x="359" y="190"/>
                  </a:cubicBezTo>
                  <a:cubicBezTo>
                    <a:pt x="355" y="190"/>
                    <a:pt x="354" y="186"/>
                    <a:pt x="354" y="186"/>
                  </a:cubicBezTo>
                  <a:cubicBezTo>
                    <a:pt x="354" y="136"/>
                    <a:pt x="354" y="136"/>
                    <a:pt x="354" y="136"/>
                  </a:cubicBezTo>
                  <a:cubicBezTo>
                    <a:pt x="317" y="136"/>
                    <a:pt x="317" y="136"/>
                    <a:pt x="317" y="136"/>
                  </a:cubicBezTo>
                  <a:cubicBezTo>
                    <a:pt x="305" y="136"/>
                    <a:pt x="295" y="127"/>
                    <a:pt x="295" y="115"/>
                  </a:cubicBezTo>
                  <a:cubicBezTo>
                    <a:pt x="295" y="21"/>
                    <a:pt x="295" y="21"/>
                    <a:pt x="295" y="21"/>
                  </a:cubicBezTo>
                  <a:cubicBezTo>
                    <a:pt x="295" y="9"/>
                    <a:pt x="305" y="0"/>
                    <a:pt x="317" y="0"/>
                  </a:cubicBezTo>
                  <a:cubicBezTo>
                    <a:pt x="400" y="0"/>
                    <a:pt x="436" y="0"/>
                    <a:pt x="452" y="0"/>
                  </a:cubicBezTo>
                  <a:cubicBezTo>
                    <a:pt x="449" y="6"/>
                    <a:pt x="448" y="14"/>
                    <a:pt x="448" y="22"/>
                  </a:cubicBezTo>
                  <a:close/>
                  <a:moveTo>
                    <a:pt x="607" y="212"/>
                  </a:moveTo>
                  <a:cubicBezTo>
                    <a:pt x="611" y="212"/>
                    <a:pt x="612" y="208"/>
                    <a:pt x="612" y="208"/>
                  </a:cubicBezTo>
                  <a:cubicBezTo>
                    <a:pt x="612" y="158"/>
                    <a:pt x="612" y="158"/>
                    <a:pt x="612" y="158"/>
                  </a:cubicBezTo>
                  <a:cubicBezTo>
                    <a:pt x="649" y="158"/>
                    <a:pt x="649" y="158"/>
                    <a:pt x="649" y="158"/>
                  </a:cubicBezTo>
                  <a:cubicBezTo>
                    <a:pt x="661" y="158"/>
                    <a:pt x="671" y="149"/>
                    <a:pt x="671" y="137"/>
                  </a:cubicBezTo>
                  <a:cubicBezTo>
                    <a:pt x="671" y="44"/>
                    <a:pt x="671" y="44"/>
                    <a:pt x="671" y="44"/>
                  </a:cubicBezTo>
                  <a:cubicBezTo>
                    <a:pt x="671" y="32"/>
                    <a:pt x="661" y="22"/>
                    <a:pt x="649" y="22"/>
                  </a:cubicBezTo>
                  <a:cubicBezTo>
                    <a:pt x="501" y="22"/>
                    <a:pt x="501" y="22"/>
                    <a:pt x="501" y="22"/>
                  </a:cubicBezTo>
                  <a:cubicBezTo>
                    <a:pt x="499" y="22"/>
                    <a:pt x="497" y="22"/>
                    <a:pt x="495" y="23"/>
                  </a:cubicBezTo>
                  <a:cubicBezTo>
                    <a:pt x="494" y="23"/>
                    <a:pt x="493" y="24"/>
                    <a:pt x="492" y="24"/>
                  </a:cubicBezTo>
                  <a:cubicBezTo>
                    <a:pt x="485" y="27"/>
                    <a:pt x="480" y="35"/>
                    <a:pt x="480" y="44"/>
                  </a:cubicBezTo>
                  <a:cubicBezTo>
                    <a:pt x="480" y="117"/>
                    <a:pt x="480" y="133"/>
                    <a:pt x="480" y="136"/>
                  </a:cubicBezTo>
                  <a:cubicBezTo>
                    <a:pt x="480" y="137"/>
                    <a:pt x="480" y="137"/>
                    <a:pt x="480" y="137"/>
                  </a:cubicBezTo>
                  <a:cubicBezTo>
                    <a:pt x="480" y="149"/>
                    <a:pt x="489" y="158"/>
                    <a:pt x="501" y="158"/>
                  </a:cubicBezTo>
                  <a:cubicBezTo>
                    <a:pt x="553" y="158"/>
                    <a:pt x="553" y="158"/>
                    <a:pt x="553" y="158"/>
                  </a:cubicBezTo>
                  <a:cubicBezTo>
                    <a:pt x="572" y="177"/>
                    <a:pt x="593" y="201"/>
                    <a:pt x="600" y="208"/>
                  </a:cubicBezTo>
                  <a:cubicBezTo>
                    <a:pt x="603" y="211"/>
                    <a:pt x="605" y="212"/>
                    <a:pt x="607" y="212"/>
                  </a:cubicBezTo>
                  <a:close/>
                  <a:moveTo>
                    <a:pt x="385" y="417"/>
                  </a:moveTo>
                  <a:cubicBezTo>
                    <a:pt x="393" y="426"/>
                    <a:pt x="406" y="443"/>
                    <a:pt x="401" y="455"/>
                  </a:cubicBezTo>
                  <a:cubicBezTo>
                    <a:pt x="398" y="462"/>
                    <a:pt x="386" y="474"/>
                    <a:pt x="360" y="475"/>
                  </a:cubicBezTo>
                  <a:cubicBezTo>
                    <a:pt x="361" y="483"/>
                    <a:pt x="361" y="494"/>
                    <a:pt x="361" y="506"/>
                  </a:cubicBezTo>
                  <a:cubicBezTo>
                    <a:pt x="361" y="547"/>
                    <a:pt x="356" y="558"/>
                    <a:pt x="351" y="563"/>
                  </a:cubicBezTo>
                  <a:cubicBezTo>
                    <a:pt x="346" y="568"/>
                    <a:pt x="335" y="574"/>
                    <a:pt x="295" y="574"/>
                  </a:cubicBezTo>
                  <a:cubicBezTo>
                    <a:pt x="289" y="574"/>
                    <a:pt x="276" y="573"/>
                    <a:pt x="265" y="572"/>
                  </a:cubicBezTo>
                  <a:cubicBezTo>
                    <a:pt x="265" y="572"/>
                    <a:pt x="265" y="572"/>
                    <a:pt x="265" y="648"/>
                  </a:cubicBezTo>
                  <a:cubicBezTo>
                    <a:pt x="265" y="653"/>
                    <a:pt x="261" y="657"/>
                    <a:pt x="256" y="658"/>
                  </a:cubicBezTo>
                  <a:cubicBezTo>
                    <a:pt x="255" y="658"/>
                    <a:pt x="252" y="658"/>
                    <a:pt x="246" y="658"/>
                  </a:cubicBezTo>
                  <a:cubicBezTo>
                    <a:pt x="224" y="658"/>
                    <a:pt x="175" y="655"/>
                    <a:pt x="135" y="631"/>
                  </a:cubicBezTo>
                  <a:cubicBezTo>
                    <a:pt x="132" y="629"/>
                    <a:pt x="130" y="626"/>
                    <a:pt x="130" y="622"/>
                  </a:cubicBezTo>
                  <a:cubicBezTo>
                    <a:pt x="130" y="622"/>
                    <a:pt x="130" y="594"/>
                    <a:pt x="130" y="558"/>
                  </a:cubicBezTo>
                  <a:cubicBezTo>
                    <a:pt x="94" y="530"/>
                    <a:pt x="0" y="418"/>
                    <a:pt x="57" y="303"/>
                  </a:cubicBezTo>
                  <a:cubicBezTo>
                    <a:pt x="80" y="257"/>
                    <a:pt x="133" y="212"/>
                    <a:pt x="214" y="212"/>
                  </a:cubicBezTo>
                  <a:cubicBezTo>
                    <a:pt x="219" y="212"/>
                    <a:pt x="223" y="213"/>
                    <a:pt x="228" y="213"/>
                  </a:cubicBezTo>
                  <a:cubicBezTo>
                    <a:pt x="330" y="220"/>
                    <a:pt x="366" y="269"/>
                    <a:pt x="365" y="293"/>
                  </a:cubicBezTo>
                  <a:cubicBezTo>
                    <a:pt x="365" y="293"/>
                    <a:pt x="365" y="293"/>
                    <a:pt x="365" y="296"/>
                  </a:cubicBezTo>
                  <a:cubicBezTo>
                    <a:pt x="365" y="302"/>
                    <a:pt x="364" y="307"/>
                    <a:pt x="361" y="313"/>
                  </a:cubicBezTo>
                  <a:cubicBezTo>
                    <a:pt x="361" y="315"/>
                    <a:pt x="361" y="316"/>
                    <a:pt x="361" y="318"/>
                  </a:cubicBezTo>
                  <a:cubicBezTo>
                    <a:pt x="362" y="327"/>
                    <a:pt x="364" y="383"/>
                    <a:pt x="366" y="387"/>
                  </a:cubicBezTo>
                  <a:cubicBezTo>
                    <a:pt x="369" y="396"/>
                    <a:pt x="376" y="409"/>
                    <a:pt x="385" y="417"/>
                  </a:cubicBezTo>
                  <a:close/>
                  <a:moveTo>
                    <a:pt x="382" y="448"/>
                  </a:moveTo>
                  <a:cubicBezTo>
                    <a:pt x="381" y="444"/>
                    <a:pt x="377" y="438"/>
                    <a:pt x="371" y="431"/>
                  </a:cubicBezTo>
                  <a:cubicBezTo>
                    <a:pt x="357" y="418"/>
                    <a:pt x="349" y="400"/>
                    <a:pt x="347" y="394"/>
                  </a:cubicBezTo>
                  <a:cubicBezTo>
                    <a:pt x="345" y="390"/>
                    <a:pt x="344" y="362"/>
                    <a:pt x="343" y="342"/>
                  </a:cubicBezTo>
                  <a:cubicBezTo>
                    <a:pt x="322" y="364"/>
                    <a:pt x="277" y="398"/>
                    <a:pt x="250" y="412"/>
                  </a:cubicBezTo>
                  <a:cubicBezTo>
                    <a:pt x="250" y="412"/>
                    <a:pt x="250" y="412"/>
                    <a:pt x="249" y="412"/>
                  </a:cubicBezTo>
                  <a:cubicBezTo>
                    <a:pt x="247" y="412"/>
                    <a:pt x="246" y="409"/>
                    <a:pt x="248" y="407"/>
                  </a:cubicBezTo>
                  <a:cubicBezTo>
                    <a:pt x="257" y="400"/>
                    <a:pt x="263" y="394"/>
                    <a:pt x="267" y="388"/>
                  </a:cubicBezTo>
                  <a:cubicBezTo>
                    <a:pt x="230" y="404"/>
                    <a:pt x="194" y="421"/>
                    <a:pt x="172" y="430"/>
                  </a:cubicBezTo>
                  <a:cubicBezTo>
                    <a:pt x="145" y="442"/>
                    <a:pt x="128" y="472"/>
                    <a:pt x="131" y="504"/>
                  </a:cubicBezTo>
                  <a:cubicBezTo>
                    <a:pt x="134" y="526"/>
                    <a:pt x="149" y="538"/>
                    <a:pt x="150" y="550"/>
                  </a:cubicBezTo>
                  <a:cubicBezTo>
                    <a:pt x="150" y="549"/>
                    <a:pt x="150" y="549"/>
                    <a:pt x="150" y="549"/>
                  </a:cubicBezTo>
                  <a:cubicBezTo>
                    <a:pt x="150" y="550"/>
                    <a:pt x="150" y="550"/>
                    <a:pt x="150" y="550"/>
                  </a:cubicBezTo>
                  <a:cubicBezTo>
                    <a:pt x="150" y="550"/>
                    <a:pt x="150" y="550"/>
                    <a:pt x="150" y="550"/>
                  </a:cubicBezTo>
                  <a:cubicBezTo>
                    <a:pt x="150" y="551"/>
                    <a:pt x="150" y="551"/>
                    <a:pt x="150" y="551"/>
                  </a:cubicBezTo>
                  <a:cubicBezTo>
                    <a:pt x="150" y="558"/>
                    <a:pt x="150" y="586"/>
                    <a:pt x="150" y="616"/>
                  </a:cubicBezTo>
                  <a:cubicBezTo>
                    <a:pt x="185" y="635"/>
                    <a:pt x="227" y="638"/>
                    <a:pt x="245" y="638"/>
                  </a:cubicBezTo>
                  <a:cubicBezTo>
                    <a:pt x="245" y="638"/>
                    <a:pt x="245" y="638"/>
                    <a:pt x="245" y="561"/>
                  </a:cubicBezTo>
                  <a:cubicBezTo>
                    <a:pt x="245" y="558"/>
                    <a:pt x="247" y="555"/>
                    <a:pt x="250" y="553"/>
                  </a:cubicBezTo>
                  <a:cubicBezTo>
                    <a:pt x="252" y="551"/>
                    <a:pt x="255" y="551"/>
                    <a:pt x="257" y="551"/>
                  </a:cubicBezTo>
                  <a:cubicBezTo>
                    <a:pt x="261" y="552"/>
                    <a:pt x="278" y="553"/>
                    <a:pt x="296" y="554"/>
                  </a:cubicBezTo>
                  <a:cubicBezTo>
                    <a:pt x="328" y="554"/>
                    <a:pt x="335" y="550"/>
                    <a:pt x="337" y="549"/>
                  </a:cubicBezTo>
                  <a:cubicBezTo>
                    <a:pt x="342" y="542"/>
                    <a:pt x="342" y="500"/>
                    <a:pt x="339" y="465"/>
                  </a:cubicBezTo>
                  <a:cubicBezTo>
                    <a:pt x="339" y="462"/>
                    <a:pt x="340" y="459"/>
                    <a:pt x="343" y="457"/>
                  </a:cubicBezTo>
                  <a:cubicBezTo>
                    <a:pt x="345" y="455"/>
                    <a:pt x="348" y="454"/>
                    <a:pt x="351" y="454"/>
                  </a:cubicBezTo>
                  <a:cubicBezTo>
                    <a:pt x="369" y="457"/>
                    <a:pt x="379" y="451"/>
                    <a:pt x="382" y="448"/>
                  </a:cubicBezTo>
                  <a:close/>
                  <a:moveTo>
                    <a:pt x="828" y="558"/>
                  </a:moveTo>
                  <a:cubicBezTo>
                    <a:pt x="828" y="594"/>
                    <a:pt x="828" y="622"/>
                    <a:pt x="828" y="622"/>
                  </a:cubicBezTo>
                  <a:cubicBezTo>
                    <a:pt x="828" y="626"/>
                    <a:pt x="826" y="629"/>
                    <a:pt x="823" y="631"/>
                  </a:cubicBezTo>
                  <a:cubicBezTo>
                    <a:pt x="783" y="655"/>
                    <a:pt x="734" y="658"/>
                    <a:pt x="712" y="658"/>
                  </a:cubicBezTo>
                  <a:cubicBezTo>
                    <a:pt x="706" y="658"/>
                    <a:pt x="703" y="658"/>
                    <a:pt x="702" y="658"/>
                  </a:cubicBezTo>
                  <a:cubicBezTo>
                    <a:pt x="697" y="657"/>
                    <a:pt x="693" y="653"/>
                    <a:pt x="693" y="648"/>
                  </a:cubicBezTo>
                  <a:cubicBezTo>
                    <a:pt x="693" y="572"/>
                    <a:pt x="693" y="572"/>
                    <a:pt x="693" y="572"/>
                  </a:cubicBezTo>
                  <a:cubicBezTo>
                    <a:pt x="682" y="573"/>
                    <a:pt x="669" y="574"/>
                    <a:pt x="663" y="574"/>
                  </a:cubicBezTo>
                  <a:cubicBezTo>
                    <a:pt x="623" y="574"/>
                    <a:pt x="612" y="568"/>
                    <a:pt x="607" y="563"/>
                  </a:cubicBezTo>
                  <a:cubicBezTo>
                    <a:pt x="602" y="558"/>
                    <a:pt x="597" y="547"/>
                    <a:pt x="597" y="506"/>
                  </a:cubicBezTo>
                  <a:cubicBezTo>
                    <a:pt x="597" y="494"/>
                    <a:pt x="597" y="483"/>
                    <a:pt x="598" y="475"/>
                  </a:cubicBezTo>
                  <a:cubicBezTo>
                    <a:pt x="572" y="474"/>
                    <a:pt x="560" y="462"/>
                    <a:pt x="557" y="455"/>
                  </a:cubicBezTo>
                  <a:cubicBezTo>
                    <a:pt x="552" y="443"/>
                    <a:pt x="565" y="426"/>
                    <a:pt x="573" y="417"/>
                  </a:cubicBezTo>
                  <a:cubicBezTo>
                    <a:pt x="582" y="409"/>
                    <a:pt x="589" y="396"/>
                    <a:pt x="592" y="387"/>
                  </a:cubicBezTo>
                  <a:cubicBezTo>
                    <a:pt x="594" y="383"/>
                    <a:pt x="596" y="327"/>
                    <a:pt x="597" y="318"/>
                  </a:cubicBezTo>
                  <a:cubicBezTo>
                    <a:pt x="597" y="316"/>
                    <a:pt x="597" y="315"/>
                    <a:pt x="597" y="313"/>
                  </a:cubicBezTo>
                  <a:cubicBezTo>
                    <a:pt x="594" y="307"/>
                    <a:pt x="593" y="302"/>
                    <a:pt x="593" y="296"/>
                  </a:cubicBezTo>
                  <a:cubicBezTo>
                    <a:pt x="593" y="293"/>
                    <a:pt x="593" y="293"/>
                    <a:pt x="593" y="293"/>
                  </a:cubicBezTo>
                  <a:cubicBezTo>
                    <a:pt x="592" y="269"/>
                    <a:pt x="628" y="220"/>
                    <a:pt x="730" y="213"/>
                  </a:cubicBezTo>
                  <a:cubicBezTo>
                    <a:pt x="735" y="213"/>
                    <a:pt x="739" y="212"/>
                    <a:pt x="744" y="212"/>
                  </a:cubicBezTo>
                  <a:cubicBezTo>
                    <a:pt x="825" y="212"/>
                    <a:pt x="878" y="257"/>
                    <a:pt x="901" y="303"/>
                  </a:cubicBezTo>
                  <a:cubicBezTo>
                    <a:pt x="958" y="418"/>
                    <a:pt x="864" y="530"/>
                    <a:pt x="828" y="558"/>
                  </a:cubicBezTo>
                  <a:close/>
                  <a:moveTo>
                    <a:pt x="786" y="430"/>
                  </a:moveTo>
                  <a:cubicBezTo>
                    <a:pt x="764" y="421"/>
                    <a:pt x="728" y="404"/>
                    <a:pt x="691" y="388"/>
                  </a:cubicBezTo>
                  <a:cubicBezTo>
                    <a:pt x="695" y="394"/>
                    <a:pt x="701" y="400"/>
                    <a:pt x="710" y="407"/>
                  </a:cubicBezTo>
                  <a:cubicBezTo>
                    <a:pt x="712" y="409"/>
                    <a:pt x="711" y="412"/>
                    <a:pt x="709" y="412"/>
                  </a:cubicBezTo>
                  <a:cubicBezTo>
                    <a:pt x="708" y="412"/>
                    <a:pt x="708" y="412"/>
                    <a:pt x="708" y="412"/>
                  </a:cubicBezTo>
                  <a:cubicBezTo>
                    <a:pt x="681" y="398"/>
                    <a:pt x="636" y="364"/>
                    <a:pt x="615" y="342"/>
                  </a:cubicBezTo>
                  <a:cubicBezTo>
                    <a:pt x="614" y="362"/>
                    <a:pt x="613" y="390"/>
                    <a:pt x="611" y="394"/>
                  </a:cubicBezTo>
                  <a:cubicBezTo>
                    <a:pt x="609" y="400"/>
                    <a:pt x="601" y="418"/>
                    <a:pt x="587" y="431"/>
                  </a:cubicBezTo>
                  <a:cubicBezTo>
                    <a:pt x="581" y="438"/>
                    <a:pt x="577" y="444"/>
                    <a:pt x="576" y="448"/>
                  </a:cubicBezTo>
                  <a:cubicBezTo>
                    <a:pt x="579" y="451"/>
                    <a:pt x="589" y="457"/>
                    <a:pt x="607" y="454"/>
                  </a:cubicBezTo>
                  <a:cubicBezTo>
                    <a:pt x="610" y="454"/>
                    <a:pt x="613" y="455"/>
                    <a:pt x="615" y="457"/>
                  </a:cubicBezTo>
                  <a:cubicBezTo>
                    <a:pt x="618" y="459"/>
                    <a:pt x="619" y="462"/>
                    <a:pt x="619" y="465"/>
                  </a:cubicBezTo>
                  <a:cubicBezTo>
                    <a:pt x="616" y="500"/>
                    <a:pt x="616" y="542"/>
                    <a:pt x="621" y="549"/>
                  </a:cubicBezTo>
                  <a:cubicBezTo>
                    <a:pt x="623" y="550"/>
                    <a:pt x="630" y="554"/>
                    <a:pt x="662" y="554"/>
                  </a:cubicBezTo>
                  <a:cubicBezTo>
                    <a:pt x="680" y="553"/>
                    <a:pt x="697" y="552"/>
                    <a:pt x="701" y="551"/>
                  </a:cubicBezTo>
                  <a:cubicBezTo>
                    <a:pt x="703" y="551"/>
                    <a:pt x="706" y="551"/>
                    <a:pt x="708" y="553"/>
                  </a:cubicBezTo>
                  <a:cubicBezTo>
                    <a:pt x="711" y="555"/>
                    <a:pt x="713" y="558"/>
                    <a:pt x="713" y="561"/>
                  </a:cubicBezTo>
                  <a:cubicBezTo>
                    <a:pt x="713" y="638"/>
                    <a:pt x="713" y="638"/>
                    <a:pt x="713" y="638"/>
                  </a:cubicBezTo>
                  <a:cubicBezTo>
                    <a:pt x="731" y="638"/>
                    <a:pt x="773" y="635"/>
                    <a:pt x="808" y="616"/>
                  </a:cubicBezTo>
                  <a:cubicBezTo>
                    <a:pt x="808" y="586"/>
                    <a:pt x="808" y="558"/>
                    <a:pt x="808" y="551"/>
                  </a:cubicBezTo>
                  <a:cubicBezTo>
                    <a:pt x="808" y="551"/>
                    <a:pt x="808" y="551"/>
                    <a:pt x="808" y="550"/>
                  </a:cubicBezTo>
                  <a:cubicBezTo>
                    <a:pt x="808" y="550"/>
                    <a:pt x="808" y="550"/>
                    <a:pt x="808" y="550"/>
                  </a:cubicBezTo>
                  <a:cubicBezTo>
                    <a:pt x="808" y="549"/>
                    <a:pt x="808" y="549"/>
                    <a:pt x="808" y="549"/>
                  </a:cubicBezTo>
                  <a:cubicBezTo>
                    <a:pt x="808" y="549"/>
                    <a:pt x="808" y="549"/>
                    <a:pt x="808" y="550"/>
                  </a:cubicBezTo>
                  <a:cubicBezTo>
                    <a:pt x="809" y="538"/>
                    <a:pt x="824" y="526"/>
                    <a:pt x="827" y="504"/>
                  </a:cubicBezTo>
                  <a:cubicBezTo>
                    <a:pt x="830" y="472"/>
                    <a:pt x="813" y="442"/>
                    <a:pt x="786" y="43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NavigationTriangle">
            <a:extLst>
              <a:ext uri="{FF2B5EF4-FFF2-40B4-BE49-F238E27FC236}">
                <a16:creationId xmlns:a16="http://schemas.microsoft.com/office/drawing/2014/main" id="{89F06D49-01A1-4956-B2D1-8D73C7CA2C8D}"/>
              </a:ext>
            </a:extLst>
          </p:cNvPr>
          <p:cNvSpPr/>
          <p:nvPr/>
        </p:nvSpPr>
        <p:spPr>
          <a:xfrm rot="16200000">
            <a:off x="8080517" y="-37923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794E680-EB26-4AF3-9788-E64F57FBB1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9388" y="1005464"/>
            <a:ext cx="457200" cy="457200"/>
            <a:chOff x="2652" y="972"/>
            <a:chExt cx="2376" cy="2376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CB59FFB7-99EB-4B84-B75B-63E89FA674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52" y="972"/>
              <a:ext cx="2376" cy="2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E30D005B-889A-4F7F-AF7E-4E943AD39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4" y="1119"/>
              <a:ext cx="1967" cy="2084"/>
            </a:xfrm>
            <a:custGeom>
              <a:avLst/>
              <a:gdLst>
                <a:gd name="T0" fmla="*/ 370 w 827"/>
                <a:gd name="T1" fmla="*/ 505 h 876"/>
                <a:gd name="T2" fmla="*/ 565 w 827"/>
                <a:gd name="T3" fmla="*/ 454 h 876"/>
                <a:gd name="T4" fmla="*/ 754 w 827"/>
                <a:gd name="T5" fmla="*/ 216 h 876"/>
                <a:gd name="T6" fmla="*/ 534 w 827"/>
                <a:gd name="T7" fmla="*/ 146 h 876"/>
                <a:gd name="T8" fmla="*/ 492 w 827"/>
                <a:gd name="T9" fmla="*/ 196 h 876"/>
                <a:gd name="T10" fmla="*/ 449 w 827"/>
                <a:gd name="T11" fmla="*/ 215 h 876"/>
                <a:gd name="T12" fmla="*/ 383 w 827"/>
                <a:gd name="T13" fmla="*/ 212 h 876"/>
                <a:gd name="T14" fmla="*/ 332 w 827"/>
                <a:gd name="T15" fmla="*/ 215 h 876"/>
                <a:gd name="T16" fmla="*/ 319 w 827"/>
                <a:gd name="T17" fmla="*/ 300 h 876"/>
                <a:gd name="T18" fmla="*/ 255 w 827"/>
                <a:gd name="T19" fmla="*/ 354 h 876"/>
                <a:gd name="T20" fmla="*/ 167 w 827"/>
                <a:gd name="T21" fmla="*/ 350 h 876"/>
                <a:gd name="T22" fmla="*/ 334 w 827"/>
                <a:gd name="T23" fmla="*/ 110 h 876"/>
                <a:gd name="T24" fmla="*/ 354 w 827"/>
                <a:gd name="T25" fmla="*/ 146 h 876"/>
                <a:gd name="T26" fmla="*/ 432 w 827"/>
                <a:gd name="T27" fmla="*/ 183 h 876"/>
                <a:gd name="T28" fmla="*/ 481 w 827"/>
                <a:gd name="T29" fmla="*/ 161 h 876"/>
                <a:gd name="T30" fmla="*/ 521 w 827"/>
                <a:gd name="T31" fmla="*/ 87 h 876"/>
                <a:gd name="T32" fmla="*/ 494 w 827"/>
                <a:gd name="T33" fmla="*/ 47 h 876"/>
                <a:gd name="T34" fmla="*/ 418 w 827"/>
                <a:gd name="T35" fmla="*/ 11 h 876"/>
                <a:gd name="T36" fmla="*/ 367 w 827"/>
                <a:gd name="T37" fmla="*/ 34 h 876"/>
                <a:gd name="T38" fmla="*/ 334 w 827"/>
                <a:gd name="T39" fmla="*/ 110 h 876"/>
                <a:gd name="T40" fmla="*/ 463 w 827"/>
                <a:gd name="T41" fmla="*/ 80 h 876"/>
                <a:gd name="T42" fmla="*/ 384 w 827"/>
                <a:gd name="T43" fmla="*/ 114 h 876"/>
                <a:gd name="T44" fmla="*/ 204 w 827"/>
                <a:gd name="T45" fmla="*/ 351 h 876"/>
                <a:gd name="T46" fmla="*/ 252 w 827"/>
                <a:gd name="T47" fmla="*/ 301 h 876"/>
                <a:gd name="T48" fmla="*/ 313 w 827"/>
                <a:gd name="T49" fmla="*/ 271 h 876"/>
                <a:gd name="T50" fmla="*/ 312 w 827"/>
                <a:gd name="T51" fmla="*/ 201 h 876"/>
                <a:gd name="T52" fmla="*/ 329 w 827"/>
                <a:gd name="T53" fmla="*/ 141 h 876"/>
                <a:gd name="T54" fmla="*/ 297 w 827"/>
                <a:gd name="T55" fmla="*/ 125 h 876"/>
                <a:gd name="T56" fmla="*/ 276 w 827"/>
                <a:gd name="T57" fmla="*/ 59 h 876"/>
                <a:gd name="T58" fmla="*/ 209 w 827"/>
                <a:gd name="T59" fmla="*/ 55 h 876"/>
                <a:gd name="T60" fmla="*/ 146 w 827"/>
                <a:gd name="T61" fmla="*/ 22 h 876"/>
                <a:gd name="T62" fmla="*/ 84 w 827"/>
                <a:gd name="T63" fmla="*/ 43 h 876"/>
                <a:gd name="T64" fmla="*/ 40 w 827"/>
                <a:gd name="T65" fmla="*/ 79 h 876"/>
                <a:gd name="T66" fmla="*/ 8 w 827"/>
                <a:gd name="T67" fmla="*/ 137 h 876"/>
                <a:gd name="T68" fmla="*/ 24 w 827"/>
                <a:gd name="T69" fmla="*/ 201 h 876"/>
                <a:gd name="T70" fmla="*/ 23 w 827"/>
                <a:gd name="T71" fmla="*/ 271 h 876"/>
                <a:gd name="T72" fmla="*/ 84 w 827"/>
                <a:gd name="T73" fmla="*/ 301 h 876"/>
                <a:gd name="T74" fmla="*/ 132 w 827"/>
                <a:gd name="T75" fmla="*/ 351 h 876"/>
                <a:gd name="T76" fmla="*/ 89 w 827"/>
                <a:gd name="T77" fmla="*/ 187 h 876"/>
                <a:gd name="T78" fmla="*/ 245 w 827"/>
                <a:gd name="T79" fmla="*/ 200 h 876"/>
                <a:gd name="T80" fmla="*/ 89 w 827"/>
                <a:gd name="T81" fmla="*/ 187 h 876"/>
                <a:gd name="T82" fmla="*/ 753 w 827"/>
                <a:gd name="T83" fmla="*/ 335 h 876"/>
                <a:gd name="T84" fmla="*/ 733 w 827"/>
                <a:gd name="T85" fmla="*/ 366 h 876"/>
                <a:gd name="T86" fmla="*/ 738 w 827"/>
                <a:gd name="T87" fmla="*/ 536 h 876"/>
                <a:gd name="T88" fmla="*/ 719 w 827"/>
                <a:gd name="T89" fmla="*/ 698 h 876"/>
                <a:gd name="T90" fmla="*/ 566 w 827"/>
                <a:gd name="T91" fmla="*/ 705 h 876"/>
                <a:gd name="T92" fmla="*/ 383 w 827"/>
                <a:gd name="T93" fmla="*/ 773 h 876"/>
                <a:gd name="T94" fmla="*/ 556 w 827"/>
                <a:gd name="T95" fmla="*/ 876 h 876"/>
                <a:gd name="T96" fmla="*/ 643 w 827"/>
                <a:gd name="T97" fmla="*/ 729 h 876"/>
                <a:gd name="T98" fmla="*/ 820 w 827"/>
                <a:gd name="T99" fmla="*/ 528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7" h="876">
                  <a:moveTo>
                    <a:pt x="383" y="752"/>
                  </a:moveTo>
                  <a:cubicBezTo>
                    <a:pt x="388" y="754"/>
                    <a:pt x="392" y="755"/>
                    <a:pt x="395" y="755"/>
                  </a:cubicBezTo>
                  <a:cubicBezTo>
                    <a:pt x="396" y="755"/>
                    <a:pt x="397" y="755"/>
                    <a:pt x="397" y="754"/>
                  </a:cubicBezTo>
                  <a:cubicBezTo>
                    <a:pt x="426" y="737"/>
                    <a:pt x="283" y="618"/>
                    <a:pt x="370" y="505"/>
                  </a:cubicBezTo>
                  <a:cubicBezTo>
                    <a:pt x="370" y="505"/>
                    <a:pt x="486" y="467"/>
                    <a:pt x="590" y="407"/>
                  </a:cubicBezTo>
                  <a:cubicBezTo>
                    <a:pt x="584" y="417"/>
                    <a:pt x="574" y="431"/>
                    <a:pt x="559" y="446"/>
                  </a:cubicBezTo>
                  <a:cubicBezTo>
                    <a:pt x="556" y="450"/>
                    <a:pt x="558" y="454"/>
                    <a:pt x="562" y="454"/>
                  </a:cubicBezTo>
                  <a:cubicBezTo>
                    <a:pt x="563" y="454"/>
                    <a:pt x="564" y="454"/>
                    <a:pt x="565" y="454"/>
                  </a:cubicBezTo>
                  <a:cubicBezTo>
                    <a:pt x="613" y="419"/>
                    <a:pt x="697" y="341"/>
                    <a:pt x="727" y="296"/>
                  </a:cubicBezTo>
                  <a:cubicBezTo>
                    <a:pt x="729" y="293"/>
                    <a:pt x="731" y="290"/>
                    <a:pt x="733" y="287"/>
                  </a:cubicBezTo>
                  <a:cubicBezTo>
                    <a:pt x="737" y="281"/>
                    <a:pt x="741" y="274"/>
                    <a:pt x="744" y="268"/>
                  </a:cubicBezTo>
                  <a:cubicBezTo>
                    <a:pt x="752" y="251"/>
                    <a:pt x="755" y="234"/>
                    <a:pt x="754" y="216"/>
                  </a:cubicBezTo>
                  <a:cubicBezTo>
                    <a:pt x="754" y="211"/>
                    <a:pt x="754" y="211"/>
                    <a:pt x="754" y="211"/>
                  </a:cubicBezTo>
                  <a:cubicBezTo>
                    <a:pt x="749" y="174"/>
                    <a:pt x="688" y="109"/>
                    <a:pt x="543" y="102"/>
                  </a:cubicBezTo>
                  <a:cubicBezTo>
                    <a:pt x="543" y="113"/>
                    <a:pt x="541" y="124"/>
                    <a:pt x="537" y="135"/>
                  </a:cubicBezTo>
                  <a:cubicBezTo>
                    <a:pt x="534" y="146"/>
                    <a:pt x="534" y="146"/>
                    <a:pt x="534" y="146"/>
                  </a:cubicBezTo>
                  <a:cubicBezTo>
                    <a:pt x="516" y="151"/>
                    <a:pt x="516" y="151"/>
                    <a:pt x="516" y="151"/>
                  </a:cubicBezTo>
                  <a:cubicBezTo>
                    <a:pt x="512" y="158"/>
                    <a:pt x="508" y="164"/>
                    <a:pt x="502" y="170"/>
                  </a:cubicBezTo>
                  <a:cubicBezTo>
                    <a:pt x="502" y="190"/>
                    <a:pt x="502" y="190"/>
                    <a:pt x="502" y="190"/>
                  </a:cubicBezTo>
                  <a:cubicBezTo>
                    <a:pt x="492" y="196"/>
                    <a:pt x="492" y="196"/>
                    <a:pt x="492" y="196"/>
                  </a:cubicBezTo>
                  <a:cubicBezTo>
                    <a:pt x="486" y="201"/>
                    <a:pt x="479" y="204"/>
                    <a:pt x="472" y="208"/>
                  </a:cubicBezTo>
                  <a:cubicBezTo>
                    <a:pt x="471" y="208"/>
                    <a:pt x="471" y="208"/>
                    <a:pt x="471" y="208"/>
                  </a:cubicBezTo>
                  <a:cubicBezTo>
                    <a:pt x="470" y="209"/>
                    <a:pt x="470" y="209"/>
                    <a:pt x="470" y="209"/>
                  </a:cubicBezTo>
                  <a:cubicBezTo>
                    <a:pt x="464" y="211"/>
                    <a:pt x="456" y="214"/>
                    <a:pt x="449" y="215"/>
                  </a:cubicBezTo>
                  <a:cubicBezTo>
                    <a:pt x="437" y="218"/>
                    <a:pt x="437" y="218"/>
                    <a:pt x="437" y="218"/>
                  </a:cubicBezTo>
                  <a:cubicBezTo>
                    <a:pt x="423" y="205"/>
                    <a:pt x="423" y="205"/>
                    <a:pt x="423" y="205"/>
                  </a:cubicBezTo>
                  <a:cubicBezTo>
                    <a:pt x="415" y="205"/>
                    <a:pt x="407" y="204"/>
                    <a:pt x="399" y="202"/>
                  </a:cubicBezTo>
                  <a:cubicBezTo>
                    <a:pt x="383" y="212"/>
                    <a:pt x="383" y="212"/>
                    <a:pt x="383" y="212"/>
                  </a:cubicBezTo>
                  <a:cubicBezTo>
                    <a:pt x="373" y="207"/>
                    <a:pt x="373" y="207"/>
                    <a:pt x="373" y="207"/>
                  </a:cubicBezTo>
                  <a:cubicBezTo>
                    <a:pt x="367" y="203"/>
                    <a:pt x="362" y="200"/>
                    <a:pt x="357" y="197"/>
                  </a:cubicBezTo>
                  <a:cubicBezTo>
                    <a:pt x="332" y="213"/>
                    <a:pt x="332" y="213"/>
                    <a:pt x="332" y="213"/>
                  </a:cubicBezTo>
                  <a:cubicBezTo>
                    <a:pt x="332" y="213"/>
                    <a:pt x="332" y="214"/>
                    <a:pt x="332" y="215"/>
                  </a:cubicBezTo>
                  <a:cubicBezTo>
                    <a:pt x="351" y="239"/>
                    <a:pt x="351" y="239"/>
                    <a:pt x="351" y="239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39" y="268"/>
                    <a:pt x="333" y="279"/>
                    <a:pt x="332" y="280"/>
                  </a:cubicBezTo>
                  <a:cubicBezTo>
                    <a:pt x="331" y="282"/>
                    <a:pt x="325" y="292"/>
                    <a:pt x="319" y="300"/>
                  </a:cubicBezTo>
                  <a:cubicBezTo>
                    <a:pt x="306" y="317"/>
                    <a:pt x="306" y="317"/>
                    <a:pt x="306" y="317"/>
                  </a:cubicBezTo>
                  <a:cubicBezTo>
                    <a:pt x="273" y="311"/>
                    <a:pt x="273" y="311"/>
                    <a:pt x="273" y="311"/>
                  </a:cubicBezTo>
                  <a:cubicBezTo>
                    <a:pt x="273" y="344"/>
                    <a:pt x="273" y="344"/>
                    <a:pt x="273" y="344"/>
                  </a:cubicBezTo>
                  <a:cubicBezTo>
                    <a:pt x="255" y="354"/>
                    <a:pt x="255" y="354"/>
                    <a:pt x="255" y="354"/>
                  </a:cubicBezTo>
                  <a:cubicBezTo>
                    <a:pt x="245" y="359"/>
                    <a:pt x="233" y="363"/>
                    <a:pt x="232" y="364"/>
                  </a:cubicBezTo>
                  <a:cubicBezTo>
                    <a:pt x="231" y="364"/>
                    <a:pt x="220" y="368"/>
                    <a:pt x="209" y="371"/>
                  </a:cubicBezTo>
                  <a:cubicBezTo>
                    <a:pt x="189" y="375"/>
                    <a:pt x="189" y="375"/>
                    <a:pt x="189" y="375"/>
                  </a:cubicBezTo>
                  <a:cubicBezTo>
                    <a:pt x="167" y="350"/>
                    <a:pt x="167" y="350"/>
                    <a:pt x="167" y="350"/>
                  </a:cubicBezTo>
                  <a:cubicBezTo>
                    <a:pt x="159" y="359"/>
                    <a:pt x="159" y="359"/>
                    <a:pt x="159" y="359"/>
                  </a:cubicBezTo>
                  <a:cubicBezTo>
                    <a:pt x="128" y="546"/>
                    <a:pt x="286" y="693"/>
                    <a:pt x="361" y="740"/>
                  </a:cubicBezTo>
                  <a:cubicBezTo>
                    <a:pt x="370" y="745"/>
                    <a:pt x="377" y="749"/>
                    <a:pt x="383" y="752"/>
                  </a:cubicBezTo>
                  <a:close/>
                  <a:moveTo>
                    <a:pt x="334" y="110"/>
                  </a:moveTo>
                  <a:cubicBezTo>
                    <a:pt x="340" y="114"/>
                    <a:pt x="340" y="114"/>
                    <a:pt x="340" y="114"/>
                  </a:cubicBezTo>
                  <a:cubicBezTo>
                    <a:pt x="341" y="119"/>
                    <a:pt x="343" y="125"/>
                    <a:pt x="346" y="130"/>
                  </a:cubicBezTo>
                  <a:cubicBezTo>
                    <a:pt x="346" y="130"/>
                    <a:pt x="346" y="130"/>
                    <a:pt x="346" y="131"/>
                  </a:cubicBezTo>
                  <a:cubicBezTo>
                    <a:pt x="348" y="136"/>
                    <a:pt x="351" y="141"/>
                    <a:pt x="354" y="146"/>
                  </a:cubicBezTo>
                  <a:cubicBezTo>
                    <a:pt x="350" y="161"/>
                    <a:pt x="350" y="161"/>
                    <a:pt x="350" y="161"/>
                  </a:cubicBezTo>
                  <a:cubicBezTo>
                    <a:pt x="359" y="172"/>
                    <a:pt x="370" y="180"/>
                    <a:pt x="382" y="186"/>
                  </a:cubicBezTo>
                  <a:cubicBezTo>
                    <a:pt x="396" y="178"/>
                    <a:pt x="396" y="178"/>
                    <a:pt x="396" y="178"/>
                  </a:cubicBezTo>
                  <a:cubicBezTo>
                    <a:pt x="407" y="182"/>
                    <a:pt x="420" y="184"/>
                    <a:pt x="432" y="183"/>
                  </a:cubicBezTo>
                  <a:cubicBezTo>
                    <a:pt x="444" y="194"/>
                    <a:pt x="444" y="194"/>
                    <a:pt x="444" y="194"/>
                  </a:cubicBezTo>
                  <a:cubicBezTo>
                    <a:pt x="450" y="193"/>
                    <a:pt x="457" y="190"/>
                    <a:pt x="463" y="188"/>
                  </a:cubicBezTo>
                  <a:cubicBezTo>
                    <a:pt x="469" y="185"/>
                    <a:pt x="475" y="181"/>
                    <a:pt x="481" y="178"/>
                  </a:cubicBezTo>
                  <a:cubicBezTo>
                    <a:pt x="481" y="161"/>
                    <a:pt x="481" y="161"/>
                    <a:pt x="481" y="161"/>
                  </a:cubicBezTo>
                  <a:cubicBezTo>
                    <a:pt x="490" y="153"/>
                    <a:pt x="497" y="143"/>
                    <a:pt x="502" y="132"/>
                  </a:cubicBezTo>
                  <a:cubicBezTo>
                    <a:pt x="517" y="127"/>
                    <a:pt x="517" y="127"/>
                    <a:pt x="517" y="127"/>
                  </a:cubicBezTo>
                  <a:cubicBezTo>
                    <a:pt x="520" y="119"/>
                    <a:pt x="521" y="111"/>
                    <a:pt x="522" y="102"/>
                  </a:cubicBezTo>
                  <a:cubicBezTo>
                    <a:pt x="522" y="97"/>
                    <a:pt x="522" y="92"/>
                    <a:pt x="521" y="87"/>
                  </a:cubicBezTo>
                  <a:cubicBezTo>
                    <a:pt x="513" y="81"/>
                    <a:pt x="510" y="79"/>
                    <a:pt x="509" y="79"/>
                  </a:cubicBezTo>
                  <a:cubicBezTo>
                    <a:pt x="508" y="78"/>
                    <a:pt x="508" y="78"/>
                    <a:pt x="508" y="78"/>
                  </a:cubicBezTo>
                  <a:cubicBezTo>
                    <a:pt x="506" y="73"/>
                    <a:pt x="504" y="68"/>
                    <a:pt x="502" y="63"/>
                  </a:cubicBezTo>
                  <a:cubicBezTo>
                    <a:pt x="500" y="57"/>
                    <a:pt x="497" y="52"/>
                    <a:pt x="494" y="47"/>
                  </a:cubicBezTo>
                  <a:cubicBezTo>
                    <a:pt x="497" y="32"/>
                    <a:pt x="497" y="32"/>
                    <a:pt x="497" y="32"/>
                  </a:cubicBezTo>
                  <a:cubicBezTo>
                    <a:pt x="488" y="21"/>
                    <a:pt x="476" y="12"/>
                    <a:pt x="464" y="7"/>
                  </a:cubicBezTo>
                  <a:cubicBezTo>
                    <a:pt x="449" y="15"/>
                    <a:pt x="449" y="15"/>
                    <a:pt x="449" y="15"/>
                  </a:cubicBezTo>
                  <a:cubicBezTo>
                    <a:pt x="439" y="12"/>
                    <a:pt x="429" y="11"/>
                    <a:pt x="418" y="11"/>
                  </a:cubicBezTo>
                  <a:cubicBezTo>
                    <a:pt x="405" y="0"/>
                    <a:pt x="405" y="0"/>
                    <a:pt x="405" y="0"/>
                  </a:cubicBezTo>
                  <a:cubicBezTo>
                    <a:pt x="399" y="2"/>
                    <a:pt x="392" y="4"/>
                    <a:pt x="385" y="7"/>
                  </a:cubicBezTo>
                  <a:cubicBezTo>
                    <a:pt x="379" y="9"/>
                    <a:pt x="372" y="13"/>
                    <a:pt x="367" y="17"/>
                  </a:cubicBezTo>
                  <a:cubicBezTo>
                    <a:pt x="367" y="34"/>
                    <a:pt x="367" y="34"/>
                    <a:pt x="367" y="34"/>
                  </a:cubicBezTo>
                  <a:cubicBezTo>
                    <a:pt x="359" y="41"/>
                    <a:pt x="352" y="49"/>
                    <a:pt x="348" y="59"/>
                  </a:cubicBezTo>
                  <a:cubicBezTo>
                    <a:pt x="332" y="64"/>
                    <a:pt x="332" y="64"/>
                    <a:pt x="332" y="64"/>
                  </a:cubicBezTo>
                  <a:cubicBezTo>
                    <a:pt x="327" y="77"/>
                    <a:pt x="325" y="91"/>
                    <a:pt x="326" y="106"/>
                  </a:cubicBezTo>
                  <a:cubicBezTo>
                    <a:pt x="330" y="107"/>
                    <a:pt x="332" y="109"/>
                    <a:pt x="334" y="110"/>
                  </a:cubicBezTo>
                  <a:close/>
                  <a:moveTo>
                    <a:pt x="381" y="93"/>
                  </a:moveTo>
                  <a:cubicBezTo>
                    <a:pt x="382" y="78"/>
                    <a:pt x="392" y="64"/>
                    <a:pt x="406" y="57"/>
                  </a:cubicBezTo>
                  <a:cubicBezTo>
                    <a:pt x="412" y="55"/>
                    <a:pt x="418" y="54"/>
                    <a:pt x="423" y="54"/>
                  </a:cubicBezTo>
                  <a:cubicBezTo>
                    <a:pt x="440" y="54"/>
                    <a:pt x="456" y="63"/>
                    <a:pt x="463" y="80"/>
                  </a:cubicBezTo>
                  <a:cubicBezTo>
                    <a:pt x="466" y="87"/>
                    <a:pt x="467" y="95"/>
                    <a:pt x="466" y="102"/>
                  </a:cubicBezTo>
                  <a:cubicBezTo>
                    <a:pt x="465" y="117"/>
                    <a:pt x="455" y="131"/>
                    <a:pt x="441" y="137"/>
                  </a:cubicBezTo>
                  <a:cubicBezTo>
                    <a:pt x="420" y="147"/>
                    <a:pt x="395" y="137"/>
                    <a:pt x="385" y="116"/>
                  </a:cubicBezTo>
                  <a:cubicBezTo>
                    <a:pt x="385" y="115"/>
                    <a:pt x="385" y="115"/>
                    <a:pt x="384" y="114"/>
                  </a:cubicBezTo>
                  <a:cubicBezTo>
                    <a:pt x="381" y="107"/>
                    <a:pt x="380" y="101"/>
                    <a:pt x="381" y="93"/>
                  </a:cubicBezTo>
                  <a:close/>
                  <a:moveTo>
                    <a:pt x="175" y="326"/>
                  </a:moveTo>
                  <a:cubicBezTo>
                    <a:pt x="198" y="352"/>
                    <a:pt x="198" y="352"/>
                    <a:pt x="198" y="352"/>
                  </a:cubicBezTo>
                  <a:cubicBezTo>
                    <a:pt x="204" y="351"/>
                    <a:pt x="204" y="351"/>
                    <a:pt x="204" y="351"/>
                  </a:cubicBezTo>
                  <a:cubicBezTo>
                    <a:pt x="214" y="348"/>
                    <a:pt x="225" y="345"/>
                    <a:pt x="225" y="344"/>
                  </a:cubicBezTo>
                  <a:cubicBezTo>
                    <a:pt x="225" y="344"/>
                    <a:pt x="236" y="340"/>
                    <a:pt x="246" y="335"/>
                  </a:cubicBezTo>
                  <a:cubicBezTo>
                    <a:pt x="251" y="332"/>
                    <a:pt x="251" y="332"/>
                    <a:pt x="251" y="332"/>
                  </a:cubicBezTo>
                  <a:cubicBezTo>
                    <a:pt x="252" y="301"/>
                    <a:pt x="252" y="301"/>
                    <a:pt x="252" y="301"/>
                  </a:cubicBezTo>
                  <a:cubicBezTo>
                    <a:pt x="257" y="297"/>
                    <a:pt x="262" y="294"/>
                    <a:pt x="266" y="289"/>
                  </a:cubicBezTo>
                  <a:cubicBezTo>
                    <a:pt x="297" y="294"/>
                    <a:pt x="297" y="294"/>
                    <a:pt x="297" y="294"/>
                  </a:cubicBezTo>
                  <a:cubicBezTo>
                    <a:pt x="301" y="289"/>
                    <a:pt x="301" y="289"/>
                    <a:pt x="301" y="289"/>
                  </a:cubicBezTo>
                  <a:cubicBezTo>
                    <a:pt x="307" y="281"/>
                    <a:pt x="313" y="271"/>
                    <a:pt x="313" y="271"/>
                  </a:cubicBezTo>
                  <a:cubicBezTo>
                    <a:pt x="313" y="270"/>
                    <a:pt x="319" y="260"/>
                    <a:pt x="323" y="251"/>
                  </a:cubicBezTo>
                  <a:cubicBezTo>
                    <a:pt x="326" y="245"/>
                    <a:pt x="326" y="245"/>
                    <a:pt x="326" y="245"/>
                  </a:cubicBezTo>
                  <a:cubicBezTo>
                    <a:pt x="308" y="223"/>
                    <a:pt x="308" y="223"/>
                    <a:pt x="308" y="223"/>
                  </a:cubicBezTo>
                  <a:cubicBezTo>
                    <a:pt x="310" y="216"/>
                    <a:pt x="311" y="209"/>
                    <a:pt x="312" y="201"/>
                  </a:cubicBezTo>
                  <a:cubicBezTo>
                    <a:pt x="336" y="187"/>
                    <a:pt x="336" y="187"/>
                    <a:pt x="336" y="187"/>
                  </a:cubicBezTo>
                  <a:cubicBezTo>
                    <a:pt x="336" y="181"/>
                    <a:pt x="336" y="181"/>
                    <a:pt x="336" y="181"/>
                  </a:cubicBezTo>
                  <a:cubicBezTo>
                    <a:pt x="335" y="171"/>
                    <a:pt x="333" y="159"/>
                    <a:pt x="333" y="159"/>
                  </a:cubicBezTo>
                  <a:cubicBezTo>
                    <a:pt x="333" y="158"/>
                    <a:pt x="331" y="150"/>
                    <a:pt x="329" y="141"/>
                  </a:cubicBezTo>
                  <a:cubicBezTo>
                    <a:pt x="329" y="140"/>
                    <a:pt x="328" y="139"/>
                    <a:pt x="328" y="138"/>
                  </a:cubicBezTo>
                  <a:cubicBezTo>
                    <a:pt x="326" y="131"/>
                    <a:pt x="326" y="131"/>
                    <a:pt x="326" y="131"/>
                  </a:cubicBezTo>
                  <a:cubicBezTo>
                    <a:pt x="307" y="127"/>
                    <a:pt x="307" y="127"/>
                    <a:pt x="307" y="127"/>
                  </a:cubicBezTo>
                  <a:cubicBezTo>
                    <a:pt x="297" y="125"/>
                    <a:pt x="297" y="125"/>
                    <a:pt x="297" y="125"/>
                  </a:cubicBezTo>
                  <a:cubicBezTo>
                    <a:pt x="294" y="119"/>
                    <a:pt x="290" y="113"/>
                    <a:pt x="286" y="108"/>
                  </a:cubicBezTo>
                  <a:cubicBezTo>
                    <a:pt x="297" y="79"/>
                    <a:pt x="297" y="79"/>
                    <a:pt x="297" y="79"/>
                  </a:cubicBezTo>
                  <a:cubicBezTo>
                    <a:pt x="292" y="74"/>
                    <a:pt x="292" y="74"/>
                    <a:pt x="292" y="74"/>
                  </a:cubicBezTo>
                  <a:cubicBezTo>
                    <a:pt x="285" y="67"/>
                    <a:pt x="276" y="60"/>
                    <a:pt x="276" y="59"/>
                  </a:cubicBezTo>
                  <a:cubicBezTo>
                    <a:pt x="275" y="59"/>
                    <a:pt x="266" y="52"/>
                    <a:pt x="258" y="46"/>
                  </a:cubicBezTo>
                  <a:cubicBezTo>
                    <a:pt x="253" y="43"/>
                    <a:pt x="253" y="43"/>
                    <a:pt x="253" y="43"/>
                  </a:cubicBezTo>
                  <a:cubicBezTo>
                    <a:pt x="222" y="59"/>
                    <a:pt x="222" y="59"/>
                    <a:pt x="222" y="59"/>
                  </a:cubicBezTo>
                  <a:cubicBezTo>
                    <a:pt x="218" y="58"/>
                    <a:pt x="213" y="56"/>
                    <a:pt x="209" y="55"/>
                  </a:cubicBezTo>
                  <a:cubicBezTo>
                    <a:pt x="197" y="22"/>
                    <a:pt x="197" y="22"/>
                    <a:pt x="197" y="22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180" y="20"/>
                    <a:pt x="168" y="20"/>
                    <a:pt x="168" y="20"/>
                  </a:cubicBezTo>
                  <a:cubicBezTo>
                    <a:pt x="167" y="20"/>
                    <a:pt x="156" y="20"/>
                    <a:pt x="146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3" y="56"/>
                    <a:pt x="118" y="58"/>
                    <a:pt x="114" y="59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0" y="52"/>
                    <a:pt x="61" y="59"/>
                    <a:pt x="60" y="59"/>
                  </a:cubicBezTo>
                  <a:cubicBezTo>
                    <a:pt x="60" y="60"/>
                    <a:pt x="51" y="67"/>
                    <a:pt x="45" y="74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46" y="113"/>
                    <a:pt x="43" y="119"/>
                    <a:pt x="40" y="125"/>
                  </a:cubicBezTo>
                  <a:cubicBezTo>
                    <a:pt x="10" y="131"/>
                    <a:pt x="10" y="131"/>
                    <a:pt x="10" y="131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5" y="147"/>
                    <a:pt x="3" y="158"/>
                    <a:pt x="3" y="159"/>
                  </a:cubicBezTo>
                  <a:cubicBezTo>
                    <a:pt x="3" y="159"/>
                    <a:pt x="1" y="170"/>
                    <a:pt x="0" y="180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5" y="209"/>
                    <a:pt x="27" y="216"/>
                    <a:pt x="29" y="223"/>
                  </a:cubicBezTo>
                  <a:cubicBezTo>
                    <a:pt x="10" y="245"/>
                    <a:pt x="10" y="245"/>
                    <a:pt x="10" y="245"/>
                  </a:cubicBezTo>
                  <a:cubicBezTo>
                    <a:pt x="13" y="251"/>
                    <a:pt x="13" y="251"/>
                    <a:pt x="13" y="251"/>
                  </a:cubicBezTo>
                  <a:cubicBezTo>
                    <a:pt x="17" y="260"/>
                    <a:pt x="22" y="270"/>
                    <a:pt x="23" y="271"/>
                  </a:cubicBezTo>
                  <a:cubicBezTo>
                    <a:pt x="23" y="271"/>
                    <a:pt x="29" y="281"/>
                    <a:pt x="35" y="289"/>
                  </a:cubicBezTo>
                  <a:cubicBezTo>
                    <a:pt x="39" y="294"/>
                    <a:pt x="39" y="294"/>
                    <a:pt x="39" y="294"/>
                  </a:cubicBezTo>
                  <a:cubicBezTo>
                    <a:pt x="70" y="289"/>
                    <a:pt x="70" y="289"/>
                    <a:pt x="70" y="289"/>
                  </a:cubicBezTo>
                  <a:cubicBezTo>
                    <a:pt x="74" y="293"/>
                    <a:pt x="79" y="297"/>
                    <a:pt x="84" y="301"/>
                  </a:cubicBezTo>
                  <a:cubicBezTo>
                    <a:pt x="85" y="332"/>
                    <a:pt x="85" y="332"/>
                    <a:pt x="85" y="332"/>
                  </a:cubicBezTo>
                  <a:cubicBezTo>
                    <a:pt x="91" y="335"/>
                    <a:pt x="91" y="335"/>
                    <a:pt x="91" y="335"/>
                  </a:cubicBezTo>
                  <a:cubicBezTo>
                    <a:pt x="100" y="340"/>
                    <a:pt x="110" y="344"/>
                    <a:pt x="111" y="344"/>
                  </a:cubicBezTo>
                  <a:cubicBezTo>
                    <a:pt x="111" y="344"/>
                    <a:pt x="122" y="348"/>
                    <a:pt x="132" y="351"/>
                  </a:cubicBezTo>
                  <a:cubicBezTo>
                    <a:pt x="139" y="352"/>
                    <a:pt x="139" y="352"/>
                    <a:pt x="139" y="352"/>
                  </a:cubicBezTo>
                  <a:cubicBezTo>
                    <a:pt x="160" y="326"/>
                    <a:pt x="160" y="326"/>
                    <a:pt x="160" y="326"/>
                  </a:cubicBezTo>
                  <a:lnTo>
                    <a:pt x="175" y="326"/>
                  </a:lnTo>
                  <a:close/>
                  <a:moveTo>
                    <a:pt x="89" y="187"/>
                  </a:moveTo>
                  <a:cubicBezTo>
                    <a:pt x="89" y="144"/>
                    <a:pt x="124" y="108"/>
                    <a:pt x="167" y="108"/>
                  </a:cubicBezTo>
                  <a:cubicBezTo>
                    <a:pt x="205" y="108"/>
                    <a:pt x="237" y="135"/>
                    <a:pt x="244" y="170"/>
                  </a:cubicBezTo>
                  <a:cubicBezTo>
                    <a:pt x="246" y="175"/>
                    <a:pt x="246" y="181"/>
                    <a:pt x="246" y="187"/>
                  </a:cubicBezTo>
                  <a:cubicBezTo>
                    <a:pt x="246" y="191"/>
                    <a:pt x="246" y="195"/>
                    <a:pt x="245" y="200"/>
                  </a:cubicBezTo>
                  <a:cubicBezTo>
                    <a:pt x="241" y="225"/>
                    <a:pt x="224" y="247"/>
                    <a:pt x="200" y="258"/>
                  </a:cubicBezTo>
                  <a:cubicBezTo>
                    <a:pt x="192" y="262"/>
                    <a:pt x="182" y="264"/>
                    <a:pt x="171" y="265"/>
                  </a:cubicBezTo>
                  <a:cubicBezTo>
                    <a:pt x="167" y="265"/>
                    <a:pt x="167" y="265"/>
                    <a:pt x="167" y="265"/>
                  </a:cubicBezTo>
                  <a:cubicBezTo>
                    <a:pt x="124" y="265"/>
                    <a:pt x="89" y="230"/>
                    <a:pt x="89" y="187"/>
                  </a:cubicBezTo>
                  <a:close/>
                  <a:moveTo>
                    <a:pt x="793" y="470"/>
                  </a:moveTo>
                  <a:cubicBezTo>
                    <a:pt x="778" y="455"/>
                    <a:pt x="765" y="432"/>
                    <a:pt x="758" y="415"/>
                  </a:cubicBezTo>
                  <a:cubicBezTo>
                    <a:pt x="755" y="408"/>
                    <a:pt x="755" y="383"/>
                    <a:pt x="754" y="366"/>
                  </a:cubicBezTo>
                  <a:cubicBezTo>
                    <a:pt x="754" y="354"/>
                    <a:pt x="754" y="343"/>
                    <a:pt x="753" y="335"/>
                  </a:cubicBezTo>
                  <a:cubicBezTo>
                    <a:pt x="752" y="326"/>
                    <a:pt x="750" y="314"/>
                    <a:pt x="748" y="303"/>
                  </a:cubicBezTo>
                  <a:cubicBezTo>
                    <a:pt x="744" y="311"/>
                    <a:pt x="738" y="319"/>
                    <a:pt x="731" y="328"/>
                  </a:cubicBezTo>
                  <a:cubicBezTo>
                    <a:pt x="731" y="332"/>
                    <a:pt x="731" y="335"/>
                    <a:pt x="732" y="337"/>
                  </a:cubicBezTo>
                  <a:cubicBezTo>
                    <a:pt x="732" y="345"/>
                    <a:pt x="733" y="355"/>
                    <a:pt x="733" y="366"/>
                  </a:cubicBezTo>
                  <a:cubicBezTo>
                    <a:pt x="734" y="394"/>
                    <a:pt x="734" y="413"/>
                    <a:pt x="738" y="423"/>
                  </a:cubicBezTo>
                  <a:cubicBezTo>
                    <a:pt x="742" y="432"/>
                    <a:pt x="755" y="464"/>
                    <a:pt x="777" y="486"/>
                  </a:cubicBezTo>
                  <a:cubicBezTo>
                    <a:pt x="793" y="501"/>
                    <a:pt x="799" y="515"/>
                    <a:pt x="800" y="520"/>
                  </a:cubicBezTo>
                  <a:cubicBezTo>
                    <a:pt x="796" y="525"/>
                    <a:pt x="779" y="540"/>
                    <a:pt x="738" y="536"/>
                  </a:cubicBezTo>
                  <a:cubicBezTo>
                    <a:pt x="735" y="535"/>
                    <a:pt x="731" y="537"/>
                    <a:pt x="729" y="539"/>
                  </a:cubicBezTo>
                  <a:cubicBezTo>
                    <a:pt x="727" y="541"/>
                    <a:pt x="725" y="544"/>
                    <a:pt x="726" y="548"/>
                  </a:cubicBezTo>
                  <a:cubicBezTo>
                    <a:pt x="726" y="548"/>
                    <a:pt x="728" y="583"/>
                    <a:pt x="728" y="619"/>
                  </a:cubicBezTo>
                  <a:cubicBezTo>
                    <a:pt x="728" y="686"/>
                    <a:pt x="720" y="697"/>
                    <a:pt x="719" y="698"/>
                  </a:cubicBezTo>
                  <a:cubicBezTo>
                    <a:pt x="718" y="699"/>
                    <a:pt x="708" y="707"/>
                    <a:pt x="649" y="707"/>
                  </a:cubicBezTo>
                  <a:cubicBezTo>
                    <a:pt x="646" y="707"/>
                    <a:pt x="646" y="707"/>
                    <a:pt x="646" y="707"/>
                  </a:cubicBezTo>
                  <a:cubicBezTo>
                    <a:pt x="612" y="707"/>
                    <a:pt x="580" y="704"/>
                    <a:pt x="575" y="704"/>
                  </a:cubicBezTo>
                  <a:cubicBezTo>
                    <a:pt x="572" y="703"/>
                    <a:pt x="569" y="703"/>
                    <a:pt x="566" y="705"/>
                  </a:cubicBezTo>
                  <a:cubicBezTo>
                    <a:pt x="563" y="707"/>
                    <a:pt x="561" y="711"/>
                    <a:pt x="561" y="714"/>
                  </a:cubicBezTo>
                  <a:cubicBezTo>
                    <a:pt x="561" y="854"/>
                    <a:pt x="561" y="854"/>
                    <a:pt x="561" y="854"/>
                  </a:cubicBezTo>
                  <a:cubicBezTo>
                    <a:pt x="533" y="854"/>
                    <a:pt x="449" y="851"/>
                    <a:pt x="383" y="814"/>
                  </a:cubicBezTo>
                  <a:cubicBezTo>
                    <a:pt x="383" y="773"/>
                    <a:pt x="383" y="773"/>
                    <a:pt x="383" y="773"/>
                  </a:cubicBezTo>
                  <a:cubicBezTo>
                    <a:pt x="376" y="771"/>
                    <a:pt x="368" y="767"/>
                    <a:pt x="361" y="763"/>
                  </a:cubicBezTo>
                  <a:cubicBezTo>
                    <a:pt x="361" y="820"/>
                    <a:pt x="361" y="820"/>
                    <a:pt x="361" y="820"/>
                  </a:cubicBezTo>
                  <a:cubicBezTo>
                    <a:pt x="361" y="824"/>
                    <a:pt x="363" y="828"/>
                    <a:pt x="366" y="830"/>
                  </a:cubicBezTo>
                  <a:cubicBezTo>
                    <a:pt x="435" y="871"/>
                    <a:pt x="520" y="876"/>
                    <a:pt x="556" y="876"/>
                  </a:cubicBezTo>
                  <a:cubicBezTo>
                    <a:pt x="566" y="876"/>
                    <a:pt x="572" y="875"/>
                    <a:pt x="573" y="875"/>
                  </a:cubicBezTo>
                  <a:cubicBezTo>
                    <a:pt x="579" y="875"/>
                    <a:pt x="583" y="870"/>
                    <a:pt x="583" y="864"/>
                  </a:cubicBezTo>
                  <a:cubicBezTo>
                    <a:pt x="583" y="727"/>
                    <a:pt x="583" y="727"/>
                    <a:pt x="583" y="727"/>
                  </a:cubicBezTo>
                  <a:cubicBezTo>
                    <a:pt x="599" y="728"/>
                    <a:pt x="624" y="729"/>
                    <a:pt x="643" y="729"/>
                  </a:cubicBezTo>
                  <a:cubicBezTo>
                    <a:pt x="711" y="730"/>
                    <a:pt x="728" y="721"/>
                    <a:pt x="735" y="713"/>
                  </a:cubicBezTo>
                  <a:cubicBezTo>
                    <a:pt x="741" y="706"/>
                    <a:pt x="750" y="688"/>
                    <a:pt x="750" y="619"/>
                  </a:cubicBezTo>
                  <a:cubicBezTo>
                    <a:pt x="750" y="595"/>
                    <a:pt x="749" y="573"/>
                    <a:pt x="748" y="559"/>
                  </a:cubicBezTo>
                  <a:cubicBezTo>
                    <a:pt x="796" y="560"/>
                    <a:pt x="816" y="537"/>
                    <a:pt x="820" y="528"/>
                  </a:cubicBezTo>
                  <a:cubicBezTo>
                    <a:pt x="827" y="513"/>
                    <a:pt x="810" y="488"/>
                    <a:pt x="793" y="47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818C453-DA68-4E95-8105-79B4C074A0AA}"/>
              </a:ext>
            </a:extLst>
          </p:cNvPr>
          <p:cNvGrpSpPr>
            <a:grpSpLocks noChangeAspect="1"/>
          </p:cNvGrpSpPr>
          <p:nvPr/>
        </p:nvGrpSpPr>
        <p:grpSpPr>
          <a:xfrm>
            <a:off x="8611619" y="76851"/>
            <a:ext cx="457200" cy="457200"/>
            <a:chOff x="7324950" y="3200401"/>
            <a:chExt cx="457200" cy="457200"/>
          </a:xfrm>
        </p:grpSpPr>
        <p:sp>
          <p:nvSpPr>
            <p:cNvPr id="36" name="AutoShape 17">
              <a:extLst>
                <a:ext uri="{FF2B5EF4-FFF2-40B4-BE49-F238E27FC236}">
                  <a16:creationId xmlns:a16="http://schemas.microsoft.com/office/drawing/2014/main" id="{21C2281B-20B9-4F96-A44A-089F230292B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0D2F6847-8CA8-44A2-99B6-81F9E45E54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7" y="3230227"/>
              <a:ext cx="402167" cy="398126"/>
            </a:xfrm>
            <a:custGeom>
              <a:avLst/>
              <a:gdLst>
                <a:gd name="T0" fmla="*/ 879 w 879"/>
                <a:gd name="T1" fmla="*/ 273 h 870"/>
                <a:gd name="T2" fmla="*/ 606 w 879"/>
                <a:gd name="T3" fmla="*/ 0 h 870"/>
                <a:gd name="T4" fmla="*/ 333 w 879"/>
                <a:gd name="T5" fmla="*/ 273 h 870"/>
                <a:gd name="T6" fmla="*/ 334 w 879"/>
                <a:gd name="T7" fmla="*/ 296 h 870"/>
                <a:gd name="T8" fmla="*/ 312 w 879"/>
                <a:gd name="T9" fmla="*/ 296 h 870"/>
                <a:gd name="T10" fmla="*/ 292 w 879"/>
                <a:gd name="T11" fmla="*/ 296 h 870"/>
                <a:gd name="T12" fmla="*/ 253 w 879"/>
                <a:gd name="T13" fmla="*/ 261 h 870"/>
                <a:gd name="T14" fmla="*/ 190 w 879"/>
                <a:gd name="T15" fmla="*/ 280 h 870"/>
                <a:gd name="T16" fmla="*/ 131 w 879"/>
                <a:gd name="T17" fmla="*/ 313 h 870"/>
                <a:gd name="T18" fmla="*/ 131 w 879"/>
                <a:gd name="T19" fmla="*/ 366 h 870"/>
                <a:gd name="T20" fmla="*/ 70 w 879"/>
                <a:gd name="T21" fmla="*/ 447 h 870"/>
                <a:gd name="T22" fmla="*/ 22 w 879"/>
                <a:gd name="T23" fmla="*/ 462 h 870"/>
                <a:gd name="T24" fmla="*/ 3 w 879"/>
                <a:gd name="T25" fmla="*/ 593 h 870"/>
                <a:gd name="T26" fmla="*/ 48 w 879"/>
                <a:gd name="T27" fmla="*/ 619 h 870"/>
                <a:gd name="T28" fmla="*/ 66 w 879"/>
                <a:gd name="T29" fmla="*/ 672 h 870"/>
                <a:gd name="T30" fmla="*/ 90 w 879"/>
                <a:gd name="T31" fmla="*/ 718 h 870"/>
                <a:gd name="T32" fmla="*/ 78 w 879"/>
                <a:gd name="T33" fmla="*/ 768 h 870"/>
                <a:gd name="T34" fmla="*/ 181 w 879"/>
                <a:gd name="T35" fmla="*/ 847 h 870"/>
                <a:gd name="T36" fmla="*/ 225 w 879"/>
                <a:gd name="T37" fmla="*/ 820 h 870"/>
                <a:gd name="T38" fmla="*/ 315 w 879"/>
                <a:gd name="T39" fmla="*/ 836 h 870"/>
                <a:gd name="T40" fmla="*/ 336 w 879"/>
                <a:gd name="T41" fmla="*/ 834 h 870"/>
                <a:gd name="T42" fmla="*/ 375 w 879"/>
                <a:gd name="T43" fmla="*/ 870 h 870"/>
                <a:gd name="T44" fmla="*/ 435 w 879"/>
                <a:gd name="T45" fmla="*/ 851 h 870"/>
                <a:gd name="T46" fmla="*/ 491 w 879"/>
                <a:gd name="T47" fmla="*/ 819 h 870"/>
                <a:gd name="T48" fmla="*/ 491 w 879"/>
                <a:gd name="T49" fmla="*/ 768 h 870"/>
                <a:gd name="T50" fmla="*/ 558 w 879"/>
                <a:gd name="T51" fmla="*/ 677 h 870"/>
                <a:gd name="T52" fmla="*/ 606 w 879"/>
                <a:gd name="T53" fmla="*/ 662 h 870"/>
                <a:gd name="T54" fmla="*/ 622 w 879"/>
                <a:gd name="T55" fmla="*/ 548 h 870"/>
                <a:gd name="T56" fmla="*/ 622 w 879"/>
                <a:gd name="T57" fmla="*/ 546 h 870"/>
                <a:gd name="T58" fmla="*/ 879 w 879"/>
                <a:gd name="T59" fmla="*/ 273 h 870"/>
                <a:gd name="T60" fmla="*/ 367 w 879"/>
                <a:gd name="T61" fmla="*/ 690 h 870"/>
                <a:gd name="T62" fmla="*/ 313 w 879"/>
                <a:gd name="T63" fmla="*/ 702 h 870"/>
                <a:gd name="T64" fmla="*/ 189 w 879"/>
                <a:gd name="T65" fmla="*/ 619 h 870"/>
                <a:gd name="T66" fmla="*/ 259 w 879"/>
                <a:gd name="T67" fmla="*/ 442 h 870"/>
                <a:gd name="T68" fmla="*/ 311 w 879"/>
                <a:gd name="T69" fmla="*/ 430 h 870"/>
                <a:gd name="T70" fmla="*/ 436 w 879"/>
                <a:gd name="T71" fmla="*/ 512 h 870"/>
                <a:gd name="T72" fmla="*/ 367 w 879"/>
                <a:gd name="T73" fmla="*/ 690 h 870"/>
                <a:gd name="T74" fmla="*/ 770 w 879"/>
                <a:gd name="T75" fmla="*/ 157 h 870"/>
                <a:gd name="T76" fmla="*/ 636 w 879"/>
                <a:gd name="T77" fmla="*/ 273 h 870"/>
                <a:gd name="T78" fmla="*/ 636 w 879"/>
                <a:gd name="T79" fmla="*/ 274 h 870"/>
                <a:gd name="T80" fmla="*/ 606 w 879"/>
                <a:gd name="T81" fmla="*/ 303 h 870"/>
                <a:gd name="T82" fmla="*/ 576 w 879"/>
                <a:gd name="T83" fmla="*/ 275 h 870"/>
                <a:gd name="T84" fmla="*/ 484 w 879"/>
                <a:gd name="T85" fmla="*/ 210 h 870"/>
                <a:gd name="T86" fmla="*/ 481 w 879"/>
                <a:gd name="T87" fmla="*/ 195 h 870"/>
                <a:gd name="T88" fmla="*/ 496 w 879"/>
                <a:gd name="T89" fmla="*/ 191 h 870"/>
                <a:gd name="T90" fmla="*/ 595 w 879"/>
                <a:gd name="T91" fmla="*/ 246 h 870"/>
                <a:gd name="T92" fmla="*/ 606 w 879"/>
                <a:gd name="T93" fmla="*/ 244 h 870"/>
                <a:gd name="T94" fmla="*/ 613 w 879"/>
                <a:gd name="T95" fmla="*/ 245 h 870"/>
                <a:gd name="T96" fmla="*/ 756 w 879"/>
                <a:gd name="T97" fmla="*/ 138 h 870"/>
                <a:gd name="T98" fmla="*/ 764 w 879"/>
                <a:gd name="T99" fmla="*/ 136 h 870"/>
                <a:gd name="T100" fmla="*/ 772 w 879"/>
                <a:gd name="T101" fmla="*/ 140 h 870"/>
                <a:gd name="T102" fmla="*/ 770 w 879"/>
                <a:gd name="T103" fmla="*/ 157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79" h="870">
                  <a:moveTo>
                    <a:pt x="879" y="273"/>
                  </a:moveTo>
                  <a:cubicBezTo>
                    <a:pt x="879" y="122"/>
                    <a:pt x="757" y="0"/>
                    <a:pt x="606" y="0"/>
                  </a:cubicBezTo>
                  <a:cubicBezTo>
                    <a:pt x="455" y="0"/>
                    <a:pt x="333" y="122"/>
                    <a:pt x="333" y="273"/>
                  </a:cubicBezTo>
                  <a:cubicBezTo>
                    <a:pt x="333" y="281"/>
                    <a:pt x="333" y="289"/>
                    <a:pt x="334" y="296"/>
                  </a:cubicBezTo>
                  <a:cubicBezTo>
                    <a:pt x="326" y="296"/>
                    <a:pt x="319" y="296"/>
                    <a:pt x="312" y="296"/>
                  </a:cubicBezTo>
                  <a:cubicBezTo>
                    <a:pt x="305" y="296"/>
                    <a:pt x="299" y="296"/>
                    <a:pt x="292" y="296"/>
                  </a:cubicBezTo>
                  <a:cubicBezTo>
                    <a:pt x="253" y="261"/>
                    <a:pt x="253" y="261"/>
                    <a:pt x="253" y="261"/>
                  </a:cubicBezTo>
                  <a:cubicBezTo>
                    <a:pt x="233" y="266"/>
                    <a:pt x="211" y="271"/>
                    <a:pt x="190" y="280"/>
                  </a:cubicBezTo>
                  <a:cubicBezTo>
                    <a:pt x="169" y="290"/>
                    <a:pt x="149" y="301"/>
                    <a:pt x="131" y="313"/>
                  </a:cubicBezTo>
                  <a:cubicBezTo>
                    <a:pt x="131" y="366"/>
                    <a:pt x="131" y="366"/>
                    <a:pt x="131" y="366"/>
                  </a:cubicBezTo>
                  <a:cubicBezTo>
                    <a:pt x="106" y="389"/>
                    <a:pt x="85" y="416"/>
                    <a:pt x="70" y="447"/>
                  </a:cubicBezTo>
                  <a:cubicBezTo>
                    <a:pt x="22" y="462"/>
                    <a:pt x="22" y="462"/>
                    <a:pt x="22" y="462"/>
                  </a:cubicBezTo>
                  <a:cubicBezTo>
                    <a:pt x="6" y="503"/>
                    <a:pt x="0" y="547"/>
                    <a:pt x="3" y="593"/>
                  </a:cubicBezTo>
                  <a:cubicBezTo>
                    <a:pt x="48" y="619"/>
                    <a:pt x="48" y="619"/>
                    <a:pt x="48" y="619"/>
                  </a:cubicBezTo>
                  <a:cubicBezTo>
                    <a:pt x="52" y="636"/>
                    <a:pt x="57" y="655"/>
                    <a:pt x="66" y="672"/>
                  </a:cubicBezTo>
                  <a:cubicBezTo>
                    <a:pt x="73" y="688"/>
                    <a:pt x="80" y="704"/>
                    <a:pt x="90" y="718"/>
                  </a:cubicBezTo>
                  <a:cubicBezTo>
                    <a:pt x="78" y="768"/>
                    <a:pt x="78" y="768"/>
                    <a:pt x="78" y="768"/>
                  </a:cubicBezTo>
                  <a:cubicBezTo>
                    <a:pt x="107" y="802"/>
                    <a:pt x="142" y="828"/>
                    <a:pt x="181" y="847"/>
                  </a:cubicBezTo>
                  <a:cubicBezTo>
                    <a:pt x="225" y="820"/>
                    <a:pt x="225" y="820"/>
                    <a:pt x="225" y="820"/>
                  </a:cubicBezTo>
                  <a:cubicBezTo>
                    <a:pt x="253" y="830"/>
                    <a:pt x="283" y="836"/>
                    <a:pt x="315" y="836"/>
                  </a:cubicBezTo>
                  <a:cubicBezTo>
                    <a:pt x="322" y="836"/>
                    <a:pt x="329" y="835"/>
                    <a:pt x="336" y="834"/>
                  </a:cubicBezTo>
                  <a:cubicBezTo>
                    <a:pt x="375" y="870"/>
                    <a:pt x="375" y="870"/>
                    <a:pt x="375" y="870"/>
                  </a:cubicBezTo>
                  <a:cubicBezTo>
                    <a:pt x="394" y="866"/>
                    <a:pt x="415" y="859"/>
                    <a:pt x="435" y="851"/>
                  </a:cubicBezTo>
                  <a:cubicBezTo>
                    <a:pt x="455" y="841"/>
                    <a:pt x="473" y="831"/>
                    <a:pt x="491" y="819"/>
                  </a:cubicBezTo>
                  <a:cubicBezTo>
                    <a:pt x="491" y="768"/>
                    <a:pt x="491" y="768"/>
                    <a:pt x="491" y="768"/>
                  </a:cubicBezTo>
                  <a:cubicBezTo>
                    <a:pt x="520" y="742"/>
                    <a:pt x="542" y="711"/>
                    <a:pt x="558" y="677"/>
                  </a:cubicBezTo>
                  <a:cubicBezTo>
                    <a:pt x="606" y="662"/>
                    <a:pt x="606" y="662"/>
                    <a:pt x="606" y="662"/>
                  </a:cubicBezTo>
                  <a:cubicBezTo>
                    <a:pt x="619" y="626"/>
                    <a:pt x="624" y="587"/>
                    <a:pt x="622" y="548"/>
                  </a:cubicBezTo>
                  <a:cubicBezTo>
                    <a:pt x="622" y="547"/>
                    <a:pt x="622" y="546"/>
                    <a:pt x="622" y="546"/>
                  </a:cubicBezTo>
                  <a:cubicBezTo>
                    <a:pt x="765" y="537"/>
                    <a:pt x="879" y="419"/>
                    <a:pt x="879" y="273"/>
                  </a:cubicBezTo>
                  <a:close/>
                  <a:moveTo>
                    <a:pt x="367" y="690"/>
                  </a:moveTo>
                  <a:cubicBezTo>
                    <a:pt x="349" y="698"/>
                    <a:pt x="331" y="702"/>
                    <a:pt x="313" y="702"/>
                  </a:cubicBezTo>
                  <a:cubicBezTo>
                    <a:pt x="261" y="702"/>
                    <a:pt x="211" y="670"/>
                    <a:pt x="189" y="619"/>
                  </a:cubicBezTo>
                  <a:cubicBezTo>
                    <a:pt x="159" y="550"/>
                    <a:pt x="191" y="471"/>
                    <a:pt x="259" y="442"/>
                  </a:cubicBezTo>
                  <a:cubicBezTo>
                    <a:pt x="276" y="434"/>
                    <a:pt x="294" y="431"/>
                    <a:pt x="311" y="430"/>
                  </a:cubicBezTo>
                  <a:cubicBezTo>
                    <a:pt x="364" y="430"/>
                    <a:pt x="415" y="461"/>
                    <a:pt x="436" y="512"/>
                  </a:cubicBezTo>
                  <a:cubicBezTo>
                    <a:pt x="466" y="580"/>
                    <a:pt x="435" y="661"/>
                    <a:pt x="367" y="690"/>
                  </a:cubicBezTo>
                  <a:close/>
                  <a:moveTo>
                    <a:pt x="770" y="157"/>
                  </a:moveTo>
                  <a:cubicBezTo>
                    <a:pt x="770" y="157"/>
                    <a:pt x="770" y="157"/>
                    <a:pt x="636" y="273"/>
                  </a:cubicBezTo>
                  <a:cubicBezTo>
                    <a:pt x="636" y="273"/>
                    <a:pt x="636" y="273"/>
                    <a:pt x="636" y="274"/>
                  </a:cubicBezTo>
                  <a:cubicBezTo>
                    <a:pt x="636" y="290"/>
                    <a:pt x="622" y="303"/>
                    <a:pt x="606" y="303"/>
                  </a:cubicBezTo>
                  <a:cubicBezTo>
                    <a:pt x="590" y="303"/>
                    <a:pt x="577" y="290"/>
                    <a:pt x="576" y="275"/>
                  </a:cubicBezTo>
                  <a:cubicBezTo>
                    <a:pt x="576" y="275"/>
                    <a:pt x="576" y="275"/>
                    <a:pt x="484" y="210"/>
                  </a:cubicBezTo>
                  <a:cubicBezTo>
                    <a:pt x="478" y="208"/>
                    <a:pt x="477" y="201"/>
                    <a:pt x="481" y="195"/>
                  </a:cubicBezTo>
                  <a:cubicBezTo>
                    <a:pt x="484" y="190"/>
                    <a:pt x="490" y="188"/>
                    <a:pt x="496" y="191"/>
                  </a:cubicBezTo>
                  <a:cubicBezTo>
                    <a:pt x="496" y="191"/>
                    <a:pt x="496" y="191"/>
                    <a:pt x="595" y="246"/>
                  </a:cubicBezTo>
                  <a:cubicBezTo>
                    <a:pt x="599" y="245"/>
                    <a:pt x="602" y="244"/>
                    <a:pt x="606" y="244"/>
                  </a:cubicBezTo>
                  <a:cubicBezTo>
                    <a:pt x="608" y="244"/>
                    <a:pt x="611" y="244"/>
                    <a:pt x="613" y="245"/>
                  </a:cubicBezTo>
                  <a:cubicBezTo>
                    <a:pt x="613" y="245"/>
                    <a:pt x="603" y="254"/>
                    <a:pt x="756" y="138"/>
                  </a:cubicBezTo>
                  <a:cubicBezTo>
                    <a:pt x="758" y="137"/>
                    <a:pt x="762" y="136"/>
                    <a:pt x="764" y="136"/>
                  </a:cubicBezTo>
                  <a:cubicBezTo>
                    <a:pt x="767" y="136"/>
                    <a:pt x="770" y="138"/>
                    <a:pt x="772" y="140"/>
                  </a:cubicBezTo>
                  <a:cubicBezTo>
                    <a:pt x="776" y="145"/>
                    <a:pt x="776" y="153"/>
                    <a:pt x="770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6161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1DA98B-76FE-4AED-A692-787C67DEC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7248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91DA98B-76FE-4AED-A692-787C67DEC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/>
              <a:t>Oh shit – Git?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2" name="Group 111">
            <a:extLst>
              <a:ext uri="{FF2B5EF4-FFF2-40B4-BE49-F238E27FC236}">
                <a16:creationId xmlns:a16="http://schemas.microsoft.com/office/drawing/2014/main" id="{CB4EB15C-3B6F-4DCF-81F8-837C98191AA7}"/>
              </a:ext>
            </a:extLst>
          </p:cNvPr>
          <p:cNvGrpSpPr/>
          <p:nvPr/>
        </p:nvGrpSpPr>
        <p:grpSpPr>
          <a:xfrm>
            <a:off x="605831" y="1021777"/>
            <a:ext cx="1992890" cy="1462848"/>
            <a:chOff x="605831" y="1021777"/>
            <a:chExt cx="1992890" cy="146284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A8F9462B-80AB-46D6-B06D-EA2004C0DF60}"/>
                </a:ext>
              </a:extLst>
            </p:cNvPr>
            <p:cNvSpPr txBox="1"/>
            <p:nvPr/>
          </p:nvSpPr>
          <p:spPr>
            <a:xfrm>
              <a:off x="605831" y="1930627"/>
              <a:ext cx="1992890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/>
                <a:t>Wrong Commit Message</a:t>
              </a: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CF4CD903-E368-42B0-BCD7-F9F24D89F23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93451" y="1021777"/>
              <a:ext cx="1017650" cy="1016668"/>
              <a:chOff x="5272881" y="2606675"/>
              <a:chExt cx="1646238" cy="1644650"/>
            </a:xfrm>
          </p:grpSpPr>
          <p:sp>
            <p:nvSpPr>
              <p:cNvPr id="74" name="AutoShape 3">
                <a:extLst>
                  <a:ext uri="{FF2B5EF4-FFF2-40B4-BE49-F238E27FC236}">
                    <a16:creationId xmlns:a16="http://schemas.microsoft.com/office/drawing/2014/main" id="{6DE15458-789F-40EC-9840-5DE3BB65E28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881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FCAD54DE-9C61-468A-854D-5D7DEE32B854}"/>
                  </a:ext>
                </a:extLst>
              </p:cNvPr>
              <p:cNvGrpSpPr/>
              <p:nvPr/>
            </p:nvGrpSpPr>
            <p:grpSpPr>
              <a:xfrm>
                <a:off x="5558631" y="2881313"/>
                <a:ext cx="1073150" cy="1093788"/>
                <a:chOff x="5558631" y="2881313"/>
                <a:chExt cx="1073150" cy="1093788"/>
              </a:xfrm>
            </p:grpSpPr>
            <p:sp>
              <p:nvSpPr>
                <p:cNvPr id="76" name="Freeform 5">
                  <a:extLst>
                    <a:ext uri="{FF2B5EF4-FFF2-40B4-BE49-F238E27FC236}">
                      <a16:creationId xmlns:a16="http://schemas.microsoft.com/office/drawing/2014/main" id="{B698090E-AEB5-4FDA-BFF3-EF72761054C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58631" y="2881313"/>
                  <a:ext cx="1073150" cy="1093788"/>
                </a:xfrm>
                <a:custGeom>
                  <a:avLst/>
                  <a:gdLst>
                    <a:gd name="T0" fmla="*/ 1478 w 1500"/>
                    <a:gd name="T1" fmla="*/ 0 h 1534"/>
                    <a:gd name="T2" fmla="*/ 22 w 1500"/>
                    <a:gd name="T3" fmla="*/ 0 h 1534"/>
                    <a:gd name="T4" fmla="*/ 0 w 1500"/>
                    <a:gd name="T5" fmla="*/ 22 h 1534"/>
                    <a:gd name="T6" fmla="*/ 0 w 1500"/>
                    <a:gd name="T7" fmla="*/ 1080 h 1534"/>
                    <a:gd name="T8" fmla="*/ 22 w 1500"/>
                    <a:gd name="T9" fmla="*/ 1102 h 1534"/>
                    <a:gd name="T10" fmla="*/ 581 w 1500"/>
                    <a:gd name="T11" fmla="*/ 1102 h 1534"/>
                    <a:gd name="T12" fmla="*/ 949 w 1500"/>
                    <a:gd name="T13" fmla="*/ 1500 h 1534"/>
                    <a:gd name="T14" fmla="*/ 1007 w 1500"/>
                    <a:gd name="T15" fmla="*/ 1534 h 1534"/>
                    <a:gd name="T16" fmla="*/ 1033 w 1500"/>
                    <a:gd name="T17" fmla="*/ 1522 h 1534"/>
                    <a:gd name="T18" fmla="*/ 1047 w 1500"/>
                    <a:gd name="T19" fmla="*/ 1488 h 1534"/>
                    <a:gd name="T20" fmla="*/ 1047 w 1500"/>
                    <a:gd name="T21" fmla="*/ 1102 h 1534"/>
                    <a:gd name="T22" fmla="*/ 1478 w 1500"/>
                    <a:gd name="T23" fmla="*/ 1102 h 1534"/>
                    <a:gd name="T24" fmla="*/ 1500 w 1500"/>
                    <a:gd name="T25" fmla="*/ 1080 h 1534"/>
                    <a:gd name="T26" fmla="*/ 1500 w 1500"/>
                    <a:gd name="T27" fmla="*/ 22 h 1534"/>
                    <a:gd name="T28" fmla="*/ 1478 w 1500"/>
                    <a:gd name="T29" fmla="*/ 0 h 1534"/>
                    <a:gd name="T30" fmla="*/ 1456 w 1500"/>
                    <a:gd name="T31" fmla="*/ 44 h 1534"/>
                    <a:gd name="T32" fmla="*/ 1456 w 1500"/>
                    <a:gd name="T33" fmla="*/ 1058 h 1534"/>
                    <a:gd name="T34" fmla="*/ 1456 w 1500"/>
                    <a:gd name="T35" fmla="*/ 1058 h 1534"/>
                    <a:gd name="T36" fmla="*/ 1047 w 1500"/>
                    <a:gd name="T37" fmla="*/ 1058 h 1534"/>
                    <a:gd name="T38" fmla="*/ 1003 w 1500"/>
                    <a:gd name="T39" fmla="*/ 1058 h 1534"/>
                    <a:gd name="T40" fmla="*/ 1003 w 1500"/>
                    <a:gd name="T41" fmla="*/ 1081 h 1534"/>
                    <a:gd name="T42" fmla="*/ 1003 w 1500"/>
                    <a:gd name="T43" fmla="*/ 1102 h 1534"/>
                    <a:gd name="T44" fmla="*/ 1003 w 1500"/>
                    <a:gd name="T45" fmla="*/ 1130 h 1534"/>
                    <a:gd name="T46" fmla="*/ 1003 w 1500"/>
                    <a:gd name="T47" fmla="*/ 1188 h 1534"/>
                    <a:gd name="T48" fmla="*/ 1003 w 1500"/>
                    <a:gd name="T49" fmla="*/ 1243 h 1534"/>
                    <a:gd name="T50" fmla="*/ 1003 w 1500"/>
                    <a:gd name="T51" fmla="*/ 1488 h 1534"/>
                    <a:gd name="T52" fmla="*/ 1003 w 1500"/>
                    <a:gd name="T53" fmla="*/ 1488 h 1534"/>
                    <a:gd name="T54" fmla="*/ 1003 w 1500"/>
                    <a:gd name="T55" fmla="*/ 1488 h 1534"/>
                    <a:gd name="T56" fmla="*/ 1002 w 1500"/>
                    <a:gd name="T57" fmla="*/ 1488 h 1534"/>
                    <a:gd name="T58" fmla="*/ 980 w 1500"/>
                    <a:gd name="T59" fmla="*/ 1470 h 1534"/>
                    <a:gd name="T60" fmla="*/ 980 w 1500"/>
                    <a:gd name="T61" fmla="*/ 1470 h 1534"/>
                    <a:gd name="T62" fmla="*/ 980 w 1500"/>
                    <a:gd name="T63" fmla="*/ 1469 h 1534"/>
                    <a:gd name="T64" fmla="*/ 980 w 1500"/>
                    <a:gd name="T65" fmla="*/ 1469 h 1534"/>
                    <a:gd name="T66" fmla="*/ 980 w 1500"/>
                    <a:gd name="T67" fmla="*/ 1469 h 1534"/>
                    <a:gd name="T68" fmla="*/ 967 w 1500"/>
                    <a:gd name="T69" fmla="*/ 1456 h 1534"/>
                    <a:gd name="T70" fmla="*/ 963 w 1500"/>
                    <a:gd name="T71" fmla="*/ 1452 h 1534"/>
                    <a:gd name="T72" fmla="*/ 950 w 1500"/>
                    <a:gd name="T73" fmla="*/ 1438 h 1534"/>
                    <a:gd name="T74" fmla="*/ 940 w 1500"/>
                    <a:gd name="T75" fmla="*/ 1427 h 1534"/>
                    <a:gd name="T76" fmla="*/ 932 w 1500"/>
                    <a:gd name="T77" fmla="*/ 1417 h 1534"/>
                    <a:gd name="T78" fmla="*/ 879 w 1500"/>
                    <a:gd name="T79" fmla="*/ 1359 h 1534"/>
                    <a:gd name="T80" fmla="*/ 628 w 1500"/>
                    <a:gd name="T81" fmla="*/ 1088 h 1534"/>
                    <a:gd name="T82" fmla="*/ 612 w 1500"/>
                    <a:gd name="T83" fmla="*/ 1071 h 1534"/>
                    <a:gd name="T84" fmla="*/ 609 w 1500"/>
                    <a:gd name="T85" fmla="*/ 1067 h 1534"/>
                    <a:gd name="T86" fmla="*/ 599 w 1500"/>
                    <a:gd name="T87" fmla="*/ 1058 h 1534"/>
                    <a:gd name="T88" fmla="*/ 581 w 1500"/>
                    <a:gd name="T89" fmla="*/ 1058 h 1534"/>
                    <a:gd name="T90" fmla="*/ 44 w 1500"/>
                    <a:gd name="T91" fmla="*/ 1058 h 1534"/>
                    <a:gd name="T92" fmla="*/ 44 w 1500"/>
                    <a:gd name="T93" fmla="*/ 1058 h 1534"/>
                    <a:gd name="T94" fmla="*/ 44 w 1500"/>
                    <a:gd name="T95" fmla="*/ 1058 h 1534"/>
                    <a:gd name="T96" fmla="*/ 44 w 1500"/>
                    <a:gd name="T97" fmla="*/ 44 h 1534"/>
                    <a:gd name="T98" fmla="*/ 44 w 1500"/>
                    <a:gd name="T99" fmla="*/ 44 h 1534"/>
                    <a:gd name="T100" fmla="*/ 44 w 1500"/>
                    <a:gd name="T101" fmla="*/ 44 h 1534"/>
                    <a:gd name="T102" fmla="*/ 1456 w 1500"/>
                    <a:gd name="T103" fmla="*/ 44 h 1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500" h="1534">
                      <a:moveTo>
                        <a:pt x="1478" y="0"/>
                      </a:move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0" y="0"/>
                        <a:pt x="0" y="10"/>
                        <a:pt x="0" y="22"/>
                      </a:cubicBezTo>
                      <a:cubicBezTo>
                        <a:pt x="0" y="1080"/>
                        <a:pt x="0" y="1080"/>
                        <a:pt x="0" y="1080"/>
                      </a:cubicBezTo>
                      <a:cubicBezTo>
                        <a:pt x="0" y="1092"/>
                        <a:pt x="10" y="1102"/>
                        <a:pt x="22" y="1102"/>
                      </a:cubicBezTo>
                      <a:cubicBezTo>
                        <a:pt x="581" y="1102"/>
                        <a:pt x="581" y="1102"/>
                        <a:pt x="581" y="1102"/>
                      </a:cubicBezTo>
                      <a:cubicBezTo>
                        <a:pt x="728" y="1251"/>
                        <a:pt x="899" y="1450"/>
                        <a:pt x="949" y="1500"/>
                      </a:cubicBezTo>
                      <a:cubicBezTo>
                        <a:pt x="973" y="1525"/>
                        <a:pt x="992" y="1534"/>
                        <a:pt x="1007" y="1534"/>
                      </a:cubicBezTo>
                      <a:cubicBezTo>
                        <a:pt x="1018" y="1534"/>
                        <a:pt x="1026" y="1529"/>
                        <a:pt x="1033" y="1522"/>
                      </a:cubicBezTo>
                      <a:cubicBezTo>
                        <a:pt x="1042" y="1513"/>
                        <a:pt x="1047" y="1501"/>
                        <a:pt x="1047" y="1488"/>
                      </a:cubicBezTo>
                      <a:cubicBezTo>
                        <a:pt x="1047" y="1102"/>
                        <a:pt x="1047" y="1102"/>
                        <a:pt x="1047" y="1102"/>
                      </a:cubicBezTo>
                      <a:cubicBezTo>
                        <a:pt x="1478" y="1102"/>
                        <a:pt x="1478" y="1102"/>
                        <a:pt x="1478" y="1102"/>
                      </a:cubicBezTo>
                      <a:cubicBezTo>
                        <a:pt x="1490" y="1102"/>
                        <a:pt x="1500" y="1092"/>
                        <a:pt x="1500" y="1080"/>
                      </a:cubicBezTo>
                      <a:cubicBezTo>
                        <a:pt x="1500" y="22"/>
                        <a:pt x="1500" y="22"/>
                        <a:pt x="1500" y="22"/>
                      </a:cubicBezTo>
                      <a:cubicBezTo>
                        <a:pt x="1500" y="10"/>
                        <a:pt x="1490" y="0"/>
                        <a:pt x="1478" y="0"/>
                      </a:cubicBezTo>
                      <a:close/>
                      <a:moveTo>
                        <a:pt x="1456" y="44"/>
                      </a:moveTo>
                      <a:cubicBezTo>
                        <a:pt x="1456" y="1058"/>
                        <a:pt x="1456" y="1058"/>
                        <a:pt x="1456" y="1058"/>
                      </a:cubicBezTo>
                      <a:cubicBezTo>
                        <a:pt x="1456" y="1058"/>
                        <a:pt x="1456" y="1058"/>
                        <a:pt x="1456" y="1058"/>
                      </a:cubicBezTo>
                      <a:cubicBezTo>
                        <a:pt x="1047" y="1058"/>
                        <a:pt x="1047" y="1058"/>
                        <a:pt x="1047" y="1058"/>
                      </a:cubicBezTo>
                      <a:cubicBezTo>
                        <a:pt x="1003" y="1058"/>
                        <a:pt x="1003" y="1058"/>
                        <a:pt x="1003" y="1058"/>
                      </a:cubicBezTo>
                      <a:cubicBezTo>
                        <a:pt x="1003" y="1081"/>
                        <a:pt x="1003" y="1081"/>
                        <a:pt x="1003" y="1081"/>
                      </a:cubicBezTo>
                      <a:cubicBezTo>
                        <a:pt x="1003" y="1102"/>
                        <a:pt x="1003" y="1102"/>
                        <a:pt x="1003" y="1102"/>
                      </a:cubicBezTo>
                      <a:cubicBezTo>
                        <a:pt x="1003" y="1130"/>
                        <a:pt x="1003" y="1130"/>
                        <a:pt x="1003" y="1130"/>
                      </a:cubicBezTo>
                      <a:cubicBezTo>
                        <a:pt x="1003" y="1188"/>
                        <a:pt x="1003" y="1188"/>
                        <a:pt x="1003" y="1188"/>
                      </a:cubicBezTo>
                      <a:cubicBezTo>
                        <a:pt x="1003" y="1243"/>
                        <a:pt x="1003" y="1243"/>
                        <a:pt x="1003" y="1243"/>
                      </a:cubicBezTo>
                      <a:cubicBezTo>
                        <a:pt x="1003" y="1488"/>
                        <a:pt x="1003" y="1488"/>
                        <a:pt x="1003" y="1488"/>
                      </a:cubicBezTo>
                      <a:cubicBezTo>
                        <a:pt x="1003" y="1488"/>
                        <a:pt x="1003" y="1488"/>
                        <a:pt x="1003" y="1488"/>
                      </a:cubicBezTo>
                      <a:cubicBezTo>
                        <a:pt x="1003" y="1488"/>
                        <a:pt x="1003" y="1488"/>
                        <a:pt x="1003" y="1488"/>
                      </a:cubicBezTo>
                      <a:cubicBezTo>
                        <a:pt x="1003" y="1488"/>
                        <a:pt x="1002" y="1488"/>
                        <a:pt x="1002" y="1488"/>
                      </a:cubicBezTo>
                      <a:cubicBezTo>
                        <a:pt x="998" y="1485"/>
                        <a:pt x="991" y="1480"/>
                        <a:pt x="980" y="1470"/>
                      </a:cubicBezTo>
                      <a:cubicBezTo>
                        <a:pt x="980" y="1470"/>
                        <a:pt x="980" y="1470"/>
                        <a:pt x="980" y="1470"/>
                      </a:cubicBezTo>
                      <a:cubicBezTo>
                        <a:pt x="980" y="1469"/>
                        <a:pt x="980" y="1469"/>
                        <a:pt x="980" y="1469"/>
                      </a:cubicBezTo>
                      <a:cubicBezTo>
                        <a:pt x="980" y="1469"/>
                        <a:pt x="980" y="1469"/>
                        <a:pt x="980" y="1469"/>
                      </a:cubicBezTo>
                      <a:cubicBezTo>
                        <a:pt x="980" y="1469"/>
                        <a:pt x="980" y="1469"/>
                        <a:pt x="980" y="1469"/>
                      </a:cubicBezTo>
                      <a:cubicBezTo>
                        <a:pt x="976" y="1465"/>
                        <a:pt x="972" y="1461"/>
                        <a:pt x="967" y="1456"/>
                      </a:cubicBezTo>
                      <a:cubicBezTo>
                        <a:pt x="966" y="1454"/>
                        <a:pt x="964" y="1453"/>
                        <a:pt x="963" y="1452"/>
                      </a:cubicBezTo>
                      <a:cubicBezTo>
                        <a:pt x="959" y="1447"/>
                        <a:pt x="955" y="1443"/>
                        <a:pt x="950" y="1438"/>
                      </a:cubicBezTo>
                      <a:cubicBezTo>
                        <a:pt x="947" y="1434"/>
                        <a:pt x="944" y="1431"/>
                        <a:pt x="940" y="1427"/>
                      </a:cubicBezTo>
                      <a:cubicBezTo>
                        <a:pt x="938" y="1424"/>
                        <a:pt x="935" y="1421"/>
                        <a:pt x="932" y="1417"/>
                      </a:cubicBezTo>
                      <a:cubicBezTo>
                        <a:pt x="916" y="1400"/>
                        <a:pt x="899" y="1381"/>
                        <a:pt x="879" y="1359"/>
                      </a:cubicBezTo>
                      <a:cubicBezTo>
                        <a:pt x="809" y="1282"/>
                        <a:pt x="715" y="1177"/>
                        <a:pt x="628" y="1088"/>
                      </a:cubicBezTo>
                      <a:cubicBezTo>
                        <a:pt x="623" y="1082"/>
                        <a:pt x="617" y="1076"/>
                        <a:pt x="612" y="1071"/>
                      </a:cubicBezTo>
                      <a:cubicBezTo>
                        <a:pt x="609" y="1067"/>
                        <a:pt x="609" y="1067"/>
                        <a:pt x="609" y="1067"/>
                      </a:cubicBezTo>
                      <a:cubicBezTo>
                        <a:pt x="599" y="1058"/>
                        <a:pt x="599" y="1058"/>
                        <a:pt x="599" y="1058"/>
                      </a:cubicBezTo>
                      <a:cubicBezTo>
                        <a:pt x="581" y="1058"/>
                        <a:pt x="581" y="1058"/>
                        <a:pt x="581" y="1058"/>
                      </a:cubicBezTo>
                      <a:cubicBezTo>
                        <a:pt x="44" y="1058"/>
                        <a:pt x="44" y="1058"/>
                        <a:pt x="44" y="1058"/>
                      </a:cubicBezTo>
                      <a:cubicBezTo>
                        <a:pt x="44" y="1058"/>
                        <a:pt x="44" y="1058"/>
                        <a:pt x="44" y="1058"/>
                      </a:cubicBezTo>
                      <a:cubicBezTo>
                        <a:pt x="44" y="1058"/>
                        <a:pt x="44" y="1058"/>
                        <a:pt x="44" y="1058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1456" y="44"/>
                        <a:pt x="1456" y="44"/>
                        <a:pt x="1456" y="4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77" name="Freeform 6">
                  <a:extLst>
                    <a:ext uri="{FF2B5EF4-FFF2-40B4-BE49-F238E27FC236}">
                      <a16:creationId xmlns:a16="http://schemas.microsoft.com/office/drawing/2014/main" id="{14B5375B-7008-4089-9FA0-9D95C96B06B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22131" y="2943225"/>
                  <a:ext cx="946150" cy="923925"/>
                </a:xfrm>
                <a:custGeom>
                  <a:avLst/>
                  <a:gdLst>
                    <a:gd name="T0" fmla="*/ 0 w 1324"/>
                    <a:gd name="T1" fmla="*/ 0 h 1294"/>
                    <a:gd name="T2" fmla="*/ 0 w 1324"/>
                    <a:gd name="T3" fmla="*/ 926 h 1294"/>
                    <a:gd name="T4" fmla="*/ 511 w 1324"/>
                    <a:gd name="T5" fmla="*/ 926 h 1294"/>
                    <a:gd name="T6" fmla="*/ 529 w 1324"/>
                    <a:gd name="T7" fmla="*/ 926 h 1294"/>
                    <a:gd name="T8" fmla="*/ 542 w 1324"/>
                    <a:gd name="T9" fmla="*/ 939 h 1294"/>
                    <a:gd name="T10" fmla="*/ 555 w 1324"/>
                    <a:gd name="T11" fmla="*/ 952 h 1294"/>
                    <a:gd name="T12" fmla="*/ 824 w 1324"/>
                    <a:gd name="T13" fmla="*/ 1241 h 1294"/>
                    <a:gd name="T14" fmla="*/ 824 w 1324"/>
                    <a:gd name="T15" fmla="*/ 1242 h 1294"/>
                    <a:gd name="T16" fmla="*/ 871 w 1324"/>
                    <a:gd name="T17" fmla="*/ 1294 h 1294"/>
                    <a:gd name="T18" fmla="*/ 871 w 1324"/>
                    <a:gd name="T19" fmla="*/ 970 h 1294"/>
                    <a:gd name="T20" fmla="*/ 871 w 1324"/>
                    <a:gd name="T21" fmla="*/ 926 h 1294"/>
                    <a:gd name="T22" fmla="*/ 915 w 1324"/>
                    <a:gd name="T23" fmla="*/ 926 h 1294"/>
                    <a:gd name="T24" fmla="*/ 1324 w 1324"/>
                    <a:gd name="T25" fmla="*/ 926 h 1294"/>
                    <a:gd name="T26" fmla="*/ 1324 w 1324"/>
                    <a:gd name="T27" fmla="*/ 0 h 1294"/>
                    <a:gd name="T28" fmla="*/ 0 w 1324"/>
                    <a:gd name="T29" fmla="*/ 0 h 1294"/>
                    <a:gd name="T30" fmla="*/ 929 w 1324"/>
                    <a:gd name="T31" fmla="*/ 682 h 1294"/>
                    <a:gd name="T32" fmla="*/ 929 w 1324"/>
                    <a:gd name="T33" fmla="*/ 744 h 1294"/>
                    <a:gd name="T34" fmla="*/ 898 w 1324"/>
                    <a:gd name="T35" fmla="*/ 757 h 1294"/>
                    <a:gd name="T36" fmla="*/ 867 w 1324"/>
                    <a:gd name="T37" fmla="*/ 744 h 1294"/>
                    <a:gd name="T38" fmla="*/ 662 w 1324"/>
                    <a:gd name="T39" fmla="*/ 540 h 1294"/>
                    <a:gd name="T40" fmla="*/ 457 w 1324"/>
                    <a:gd name="T41" fmla="*/ 744 h 1294"/>
                    <a:gd name="T42" fmla="*/ 426 w 1324"/>
                    <a:gd name="T43" fmla="*/ 757 h 1294"/>
                    <a:gd name="T44" fmla="*/ 395 w 1324"/>
                    <a:gd name="T45" fmla="*/ 744 h 1294"/>
                    <a:gd name="T46" fmla="*/ 395 w 1324"/>
                    <a:gd name="T47" fmla="*/ 682 h 1294"/>
                    <a:gd name="T48" fmla="*/ 600 w 1324"/>
                    <a:gd name="T49" fmla="*/ 477 h 1294"/>
                    <a:gd name="T50" fmla="*/ 395 w 1324"/>
                    <a:gd name="T51" fmla="*/ 273 h 1294"/>
                    <a:gd name="T52" fmla="*/ 395 w 1324"/>
                    <a:gd name="T53" fmla="*/ 211 h 1294"/>
                    <a:gd name="T54" fmla="*/ 457 w 1324"/>
                    <a:gd name="T55" fmla="*/ 211 h 1294"/>
                    <a:gd name="T56" fmla="*/ 662 w 1324"/>
                    <a:gd name="T57" fmla="*/ 415 h 1294"/>
                    <a:gd name="T58" fmla="*/ 867 w 1324"/>
                    <a:gd name="T59" fmla="*/ 211 h 1294"/>
                    <a:gd name="T60" fmla="*/ 929 w 1324"/>
                    <a:gd name="T61" fmla="*/ 211 h 1294"/>
                    <a:gd name="T62" fmla="*/ 929 w 1324"/>
                    <a:gd name="T63" fmla="*/ 273 h 1294"/>
                    <a:gd name="T64" fmla="*/ 724 w 1324"/>
                    <a:gd name="T65" fmla="*/ 477 h 1294"/>
                    <a:gd name="T66" fmla="*/ 929 w 1324"/>
                    <a:gd name="T67" fmla="*/ 682 h 1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324" h="1294">
                      <a:moveTo>
                        <a:pt x="0" y="0"/>
                      </a:moveTo>
                      <a:cubicBezTo>
                        <a:pt x="0" y="926"/>
                        <a:pt x="0" y="926"/>
                        <a:pt x="0" y="926"/>
                      </a:cubicBezTo>
                      <a:cubicBezTo>
                        <a:pt x="511" y="926"/>
                        <a:pt x="511" y="926"/>
                        <a:pt x="511" y="926"/>
                      </a:cubicBezTo>
                      <a:cubicBezTo>
                        <a:pt x="529" y="926"/>
                        <a:pt x="529" y="926"/>
                        <a:pt x="529" y="926"/>
                      </a:cubicBezTo>
                      <a:cubicBezTo>
                        <a:pt x="542" y="939"/>
                        <a:pt x="542" y="939"/>
                        <a:pt x="542" y="939"/>
                      </a:cubicBezTo>
                      <a:cubicBezTo>
                        <a:pt x="555" y="952"/>
                        <a:pt x="555" y="952"/>
                        <a:pt x="555" y="952"/>
                      </a:cubicBezTo>
                      <a:cubicBezTo>
                        <a:pt x="647" y="1046"/>
                        <a:pt x="749" y="1159"/>
                        <a:pt x="824" y="1241"/>
                      </a:cubicBezTo>
                      <a:cubicBezTo>
                        <a:pt x="824" y="1242"/>
                        <a:pt x="824" y="1242"/>
                        <a:pt x="824" y="1242"/>
                      </a:cubicBezTo>
                      <a:cubicBezTo>
                        <a:pt x="841" y="1261"/>
                        <a:pt x="857" y="1278"/>
                        <a:pt x="871" y="1294"/>
                      </a:cubicBezTo>
                      <a:cubicBezTo>
                        <a:pt x="871" y="1166"/>
                        <a:pt x="871" y="970"/>
                        <a:pt x="871" y="970"/>
                      </a:cubicBezTo>
                      <a:cubicBezTo>
                        <a:pt x="871" y="926"/>
                        <a:pt x="871" y="926"/>
                        <a:pt x="871" y="926"/>
                      </a:cubicBezTo>
                      <a:cubicBezTo>
                        <a:pt x="915" y="926"/>
                        <a:pt x="915" y="926"/>
                        <a:pt x="915" y="926"/>
                      </a:cubicBezTo>
                      <a:cubicBezTo>
                        <a:pt x="1324" y="926"/>
                        <a:pt x="1324" y="926"/>
                        <a:pt x="1324" y="926"/>
                      </a:cubicBezTo>
                      <a:cubicBezTo>
                        <a:pt x="1324" y="0"/>
                        <a:pt x="1324" y="0"/>
                        <a:pt x="1324" y="0"/>
                      </a:cubicBezTo>
                      <a:lnTo>
                        <a:pt x="0" y="0"/>
                      </a:lnTo>
                      <a:close/>
                      <a:moveTo>
                        <a:pt x="929" y="682"/>
                      </a:moveTo>
                      <a:cubicBezTo>
                        <a:pt x="946" y="699"/>
                        <a:pt x="946" y="727"/>
                        <a:pt x="929" y="744"/>
                      </a:cubicBezTo>
                      <a:cubicBezTo>
                        <a:pt x="920" y="753"/>
                        <a:pt x="909" y="757"/>
                        <a:pt x="898" y="757"/>
                      </a:cubicBezTo>
                      <a:cubicBezTo>
                        <a:pt x="886" y="757"/>
                        <a:pt x="875" y="753"/>
                        <a:pt x="867" y="744"/>
                      </a:cubicBezTo>
                      <a:cubicBezTo>
                        <a:pt x="662" y="540"/>
                        <a:pt x="662" y="540"/>
                        <a:pt x="662" y="540"/>
                      </a:cubicBezTo>
                      <a:cubicBezTo>
                        <a:pt x="457" y="744"/>
                        <a:pt x="457" y="744"/>
                        <a:pt x="457" y="744"/>
                      </a:cubicBezTo>
                      <a:cubicBezTo>
                        <a:pt x="449" y="753"/>
                        <a:pt x="438" y="757"/>
                        <a:pt x="426" y="757"/>
                      </a:cubicBezTo>
                      <a:cubicBezTo>
                        <a:pt x="415" y="757"/>
                        <a:pt x="404" y="753"/>
                        <a:pt x="395" y="744"/>
                      </a:cubicBezTo>
                      <a:cubicBezTo>
                        <a:pt x="378" y="727"/>
                        <a:pt x="378" y="699"/>
                        <a:pt x="395" y="682"/>
                      </a:cubicBezTo>
                      <a:cubicBezTo>
                        <a:pt x="600" y="477"/>
                        <a:pt x="600" y="477"/>
                        <a:pt x="600" y="477"/>
                      </a:cubicBezTo>
                      <a:cubicBezTo>
                        <a:pt x="395" y="273"/>
                        <a:pt x="395" y="273"/>
                        <a:pt x="395" y="273"/>
                      </a:cubicBezTo>
                      <a:cubicBezTo>
                        <a:pt x="378" y="256"/>
                        <a:pt x="378" y="228"/>
                        <a:pt x="395" y="211"/>
                      </a:cubicBezTo>
                      <a:cubicBezTo>
                        <a:pt x="412" y="193"/>
                        <a:pt x="440" y="193"/>
                        <a:pt x="457" y="211"/>
                      </a:cubicBezTo>
                      <a:cubicBezTo>
                        <a:pt x="662" y="415"/>
                        <a:pt x="662" y="415"/>
                        <a:pt x="662" y="415"/>
                      </a:cubicBezTo>
                      <a:cubicBezTo>
                        <a:pt x="867" y="211"/>
                        <a:pt x="867" y="211"/>
                        <a:pt x="867" y="211"/>
                      </a:cubicBezTo>
                      <a:cubicBezTo>
                        <a:pt x="884" y="193"/>
                        <a:pt x="912" y="193"/>
                        <a:pt x="929" y="211"/>
                      </a:cubicBezTo>
                      <a:cubicBezTo>
                        <a:pt x="946" y="228"/>
                        <a:pt x="946" y="256"/>
                        <a:pt x="929" y="273"/>
                      </a:cubicBezTo>
                      <a:cubicBezTo>
                        <a:pt x="724" y="477"/>
                        <a:pt x="724" y="477"/>
                        <a:pt x="724" y="477"/>
                      </a:cubicBezTo>
                      <a:lnTo>
                        <a:pt x="929" y="68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</p:grp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51716973-6E54-49A8-B43B-ADF889605A8E}"/>
              </a:ext>
            </a:extLst>
          </p:cNvPr>
          <p:cNvGrpSpPr/>
          <p:nvPr/>
        </p:nvGrpSpPr>
        <p:grpSpPr>
          <a:xfrm>
            <a:off x="2090836" y="2662700"/>
            <a:ext cx="1992890" cy="1272952"/>
            <a:chOff x="2090836" y="2662700"/>
            <a:chExt cx="1992890" cy="1272952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206452E3-CD7A-4BBA-9EE5-D99F0160209F}"/>
                </a:ext>
              </a:extLst>
            </p:cNvPr>
            <p:cNvSpPr txBox="1"/>
            <p:nvPr/>
          </p:nvSpPr>
          <p:spPr>
            <a:xfrm>
              <a:off x="2090836" y="3658653"/>
              <a:ext cx="1992890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/>
                <a:t>Merge Conflict</a:t>
              </a: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14195521-4FC0-407A-9E80-0360576FC3B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79437" y="2662700"/>
              <a:ext cx="1015687" cy="1016668"/>
              <a:chOff x="5273675" y="2514600"/>
              <a:chExt cx="1644650" cy="1646238"/>
            </a:xfrm>
          </p:grpSpPr>
          <p:sp>
            <p:nvSpPr>
              <p:cNvPr id="81" name="AutoShape 91">
                <a:extLst>
                  <a:ext uri="{FF2B5EF4-FFF2-40B4-BE49-F238E27FC236}">
                    <a16:creationId xmlns:a16="http://schemas.microsoft.com/office/drawing/2014/main" id="{EBF3B621-4AD7-40B2-89F8-3109490CCA8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514600"/>
                <a:ext cx="1644650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9CB2BE20-4E4E-47DB-8E6E-B1FC420A3801}"/>
                  </a:ext>
                </a:extLst>
              </p:cNvPr>
              <p:cNvGrpSpPr/>
              <p:nvPr/>
            </p:nvGrpSpPr>
            <p:grpSpPr>
              <a:xfrm>
                <a:off x="5508625" y="2774949"/>
                <a:ext cx="1174751" cy="1108076"/>
                <a:chOff x="5508625" y="2774949"/>
                <a:chExt cx="1174751" cy="1108076"/>
              </a:xfrm>
            </p:grpSpPr>
            <p:sp>
              <p:nvSpPr>
                <p:cNvPr id="83" name="Freeform 15">
                  <a:extLst>
                    <a:ext uri="{FF2B5EF4-FFF2-40B4-BE49-F238E27FC236}">
                      <a16:creationId xmlns:a16="http://schemas.microsoft.com/office/drawing/2014/main" id="{8DCCE3FA-853C-4635-A081-3EF4978713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54271" y="2774949"/>
                  <a:ext cx="829105" cy="914400"/>
                </a:xfrm>
                <a:custGeom>
                  <a:avLst/>
                  <a:gdLst>
                    <a:gd name="connsiteX0" fmla="*/ 595862 w 829105"/>
                    <a:gd name="connsiteY0" fmla="*/ 301625 h 914400"/>
                    <a:gd name="connsiteX1" fmla="*/ 613694 w 829105"/>
                    <a:gd name="connsiteY1" fmla="*/ 306624 h 914400"/>
                    <a:gd name="connsiteX2" fmla="*/ 813413 w 829105"/>
                    <a:gd name="connsiteY2" fmla="*/ 432322 h 914400"/>
                    <a:gd name="connsiteX3" fmla="*/ 814126 w 829105"/>
                    <a:gd name="connsiteY3" fmla="*/ 432322 h 914400"/>
                    <a:gd name="connsiteX4" fmla="*/ 815553 w 829105"/>
                    <a:gd name="connsiteY4" fmla="*/ 433750 h 914400"/>
                    <a:gd name="connsiteX5" fmla="*/ 816979 w 829105"/>
                    <a:gd name="connsiteY5" fmla="*/ 434464 h 914400"/>
                    <a:gd name="connsiteX6" fmla="*/ 818406 w 829105"/>
                    <a:gd name="connsiteY6" fmla="*/ 435893 h 914400"/>
                    <a:gd name="connsiteX7" fmla="*/ 819833 w 829105"/>
                    <a:gd name="connsiteY7" fmla="*/ 436607 h 914400"/>
                    <a:gd name="connsiteX8" fmla="*/ 820546 w 829105"/>
                    <a:gd name="connsiteY8" fmla="*/ 438035 h 914400"/>
                    <a:gd name="connsiteX9" fmla="*/ 821972 w 829105"/>
                    <a:gd name="connsiteY9" fmla="*/ 439464 h 914400"/>
                    <a:gd name="connsiteX10" fmla="*/ 821972 w 829105"/>
                    <a:gd name="connsiteY10" fmla="*/ 440178 h 914400"/>
                    <a:gd name="connsiteX11" fmla="*/ 822686 w 829105"/>
                    <a:gd name="connsiteY11" fmla="*/ 440892 h 914400"/>
                    <a:gd name="connsiteX12" fmla="*/ 823399 w 829105"/>
                    <a:gd name="connsiteY12" fmla="*/ 442321 h 914400"/>
                    <a:gd name="connsiteX13" fmla="*/ 824112 w 829105"/>
                    <a:gd name="connsiteY13" fmla="*/ 442321 h 914400"/>
                    <a:gd name="connsiteX14" fmla="*/ 824826 w 829105"/>
                    <a:gd name="connsiteY14" fmla="*/ 443035 h 914400"/>
                    <a:gd name="connsiteX15" fmla="*/ 825539 w 829105"/>
                    <a:gd name="connsiteY15" fmla="*/ 444463 h 914400"/>
                    <a:gd name="connsiteX16" fmla="*/ 825539 w 829105"/>
                    <a:gd name="connsiteY16" fmla="*/ 445177 h 914400"/>
                    <a:gd name="connsiteX17" fmla="*/ 826252 w 829105"/>
                    <a:gd name="connsiteY17" fmla="*/ 445892 h 914400"/>
                    <a:gd name="connsiteX18" fmla="*/ 826965 w 829105"/>
                    <a:gd name="connsiteY18" fmla="*/ 447320 h 914400"/>
                    <a:gd name="connsiteX19" fmla="*/ 826965 w 829105"/>
                    <a:gd name="connsiteY19" fmla="*/ 448748 h 914400"/>
                    <a:gd name="connsiteX20" fmla="*/ 826965 w 829105"/>
                    <a:gd name="connsiteY20" fmla="*/ 449462 h 914400"/>
                    <a:gd name="connsiteX21" fmla="*/ 827679 w 829105"/>
                    <a:gd name="connsiteY21" fmla="*/ 450891 h 914400"/>
                    <a:gd name="connsiteX22" fmla="*/ 827679 w 829105"/>
                    <a:gd name="connsiteY22" fmla="*/ 451605 h 914400"/>
                    <a:gd name="connsiteX23" fmla="*/ 828392 w 829105"/>
                    <a:gd name="connsiteY23" fmla="*/ 451605 h 914400"/>
                    <a:gd name="connsiteX24" fmla="*/ 828392 w 829105"/>
                    <a:gd name="connsiteY24" fmla="*/ 452319 h 914400"/>
                    <a:gd name="connsiteX25" fmla="*/ 828392 w 829105"/>
                    <a:gd name="connsiteY25" fmla="*/ 453748 h 914400"/>
                    <a:gd name="connsiteX26" fmla="*/ 828392 w 829105"/>
                    <a:gd name="connsiteY26" fmla="*/ 455176 h 914400"/>
                    <a:gd name="connsiteX27" fmla="*/ 829105 w 829105"/>
                    <a:gd name="connsiteY27" fmla="*/ 455176 h 914400"/>
                    <a:gd name="connsiteX28" fmla="*/ 829105 w 829105"/>
                    <a:gd name="connsiteY28" fmla="*/ 457319 h 914400"/>
                    <a:gd name="connsiteX29" fmla="*/ 829105 w 829105"/>
                    <a:gd name="connsiteY29" fmla="*/ 458033 h 914400"/>
                    <a:gd name="connsiteX30" fmla="*/ 829105 w 829105"/>
                    <a:gd name="connsiteY30" fmla="*/ 458747 h 914400"/>
                    <a:gd name="connsiteX31" fmla="*/ 829105 w 829105"/>
                    <a:gd name="connsiteY31" fmla="*/ 460175 h 914400"/>
                    <a:gd name="connsiteX32" fmla="*/ 829105 w 829105"/>
                    <a:gd name="connsiteY32" fmla="*/ 461604 h 914400"/>
                    <a:gd name="connsiteX33" fmla="*/ 829105 w 829105"/>
                    <a:gd name="connsiteY33" fmla="*/ 462318 h 914400"/>
                    <a:gd name="connsiteX34" fmla="*/ 829105 w 829105"/>
                    <a:gd name="connsiteY34" fmla="*/ 463746 h 914400"/>
                    <a:gd name="connsiteX35" fmla="*/ 829105 w 829105"/>
                    <a:gd name="connsiteY35" fmla="*/ 464460 h 914400"/>
                    <a:gd name="connsiteX36" fmla="*/ 829105 w 829105"/>
                    <a:gd name="connsiteY36" fmla="*/ 465175 h 914400"/>
                    <a:gd name="connsiteX37" fmla="*/ 828392 w 829105"/>
                    <a:gd name="connsiteY37" fmla="*/ 466603 h 914400"/>
                    <a:gd name="connsiteX38" fmla="*/ 828392 w 829105"/>
                    <a:gd name="connsiteY38" fmla="*/ 468031 h 914400"/>
                    <a:gd name="connsiteX39" fmla="*/ 828392 w 829105"/>
                    <a:gd name="connsiteY39" fmla="*/ 468746 h 914400"/>
                    <a:gd name="connsiteX40" fmla="*/ 827679 w 829105"/>
                    <a:gd name="connsiteY40" fmla="*/ 470174 h 914400"/>
                    <a:gd name="connsiteX41" fmla="*/ 827679 w 829105"/>
                    <a:gd name="connsiteY41" fmla="*/ 470888 h 914400"/>
                    <a:gd name="connsiteX42" fmla="*/ 826965 w 829105"/>
                    <a:gd name="connsiteY42" fmla="*/ 471602 h 914400"/>
                    <a:gd name="connsiteX43" fmla="*/ 826965 w 829105"/>
                    <a:gd name="connsiteY43" fmla="*/ 473031 h 914400"/>
                    <a:gd name="connsiteX44" fmla="*/ 826252 w 829105"/>
                    <a:gd name="connsiteY44" fmla="*/ 474459 h 914400"/>
                    <a:gd name="connsiteX45" fmla="*/ 825539 w 829105"/>
                    <a:gd name="connsiteY45" fmla="*/ 475887 h 914400"/>
                    <a:gd name="connsiteX46" fmla="*/ 824826 w 829105"/>
                    <a:gd name="connsiteY46" fmla="*/ 477316 h 914400"/>
                    <a:gd name="connsiteX47" fmla="*/ 707847 w 829105"/>
                    <a:gd name="connsiteY47" fmla="*/ 682288 h 914400"/>
                    <a:gd name="connsiteX48" fmla="*/ 678603 w 829105"/>
                    <a:gd name="connsiteY48" fmla="*/ 698715 h 914400"/>
                    <a:gd name="connsiteX49" fmla="*/ 662197 w 829105"/>
                    <a:gd name="connsiteY49" fmla="*/ 694430 h 914400"/>
                    <a:gd name="connsiteX50" fmla="*/ 650071 w 829105"/>
                    <a:gd name="connsiteY50" fmla="*/ 648721 h 914400"/>
                    <a:gd name="connsiteX51" fmla="*/ 730672 w 829105"/>
                    <a:gd name="connsiteY51" fmla="*/ 508026 h 914400"/>
                    <a:gd name="connsiteX52" fmla="*/ 292717 w 829105"/>
                    <a:gd name="connsiteY52" fmla="*/ 914400 h 914400"/>
                    <a:gd name="connsiteX53" fmla="*/ 289150 w 829105"/>
                    <a:gd name="connsiteY53" fmla="*/ 898688 h 914400"/>
                    <a:gd name="connsiteX54" fmla="*/ 273458 w 829105"/>
                    <a:gd name="connsiteY54" fmla="*/ 838696 h 914400"/>
                    <a:gd name="connsiteX55" fmla="*/ 259192 w 829105"/>
                    <a:gd name="connsiteY55" fmla="*/ 797273 h 914400"/>
                    <a:gd name="connsiteX56" fmla="*/ 273458 w 829105"/>
                    <a:gd name="connsiteY56" fmla="*/ 765134 h 914400"/>
                    <a:gd name="connsiteX57" fmla="*/ 289150 w 829105"/>
                    <a:gd name="connsiteY57" fmla="*/ 735138 h 914400"/>
                    <a:gd name="connsiteX58" fmla="*/ 376171 w 829105"/>
                    <a:gd name="connsiteY58" fmla="*/ 620868 h 914400"/>
                    <a:gd name="connsiteX59" fmla="*/ 707134 w 829105"/>
                    <a:gd name="connsiteY59" fmla="*/ 444463 h 914400"/>
                    <a:gd name="connsiteX60" fmla="*/ 578030 w 829105"/>
                    <a:gd name="connsiteY60" fmla="*/ 363760 h 914400"/>
                    <a:gd name="connsiteX61" fmla="*/ 567330 w 829105"/>
                    <a:gd name="connsiteY61" fmla="*/ 317337 h 914400"/>
                    <a:gd name="connsiteX62" fmla="*/ 595862 w 829105"/>
                    <a:gd name="connsiteY62" fmla="*/ 301625 h 914400"/>
                    <a:gd name="connsiteX63" fmla="*/ 236718 w 829105"/>
                    <a:gd name="connsiteY63" fmla="*/ 0 h 914400"/>
                    <a:gd name="connsiteX64" fmla="*/ 237434 w 829105"/>
                    <a:gd name="connsiteY64" fmla="*/ 0 h 914400"/>
                    <a:gd name="connsiteX65" fmla="*/ 239582 w 829105"/>
                    <a:gd name="connsiteY65" fmla="*/ 0 h 914400"/>
                    <a:gd name="connsiteX66" fmla="*/ 241013 w 829105"/>
                    <a:gd name="connsiteY66" fmla="*/ 0 h 914400"/>
                    <a:gd name="connsiteX67" fmla="*/ 242445 w 829105"/>
                    <a:gd name="connsiteY67" fmla="*/ 0 h 914400"/>
                    <a:gd name="connsiteX68" fmla="*/ 243876 w 829105"/>
                    <a:gd name="connsiteY68" fmla="*/ 0 h 914400"/>
                    <a:gd name="connsiteX69" fmla="*/ 246023 w 829105"/>
                    <a:gd name="connsiteY69" fmla="*/ 0 h 914400"/>
                    <a:gd name="connsiteX70" fmla="*/ 246739 w 829105"/>
                    <a:gd name="connsiteY70" fmla="*/ 0 h 914400"/>
                    <a:gd name="connsiteX71" fmla="*/ 248171 w 829105"/>
                    <a:gd name="connsiteY71" fmla="*/ 714 h 914400"/>
                    <a:gd name="connsiteX72" fmla="*/ 250318 w 829105"/>
                    <a:gd name="connsiteY72" fmla="*/ 714 h 914400"/>
                    <a:gd name="connsiteX73" fmla="*/ 251749 w 829105"/>
                    <a:gd name="connsiteY73" fmla="*/ 1428 h 914400"/>
                    <a:gd name="connsiteX74" fmla="*/ 253181 w 829105"/>
                    <a:gd name="connsiteY74" fmla="*/ 1428 h 914400"/>
                    <a:gd name="connsiteX75" fmla="*/ 255328 w 829105"/>
                    <a:gd name="connsiteY75" fmla="*/ 2143 h 914400"/>
                    <a:gd name="connsiteX76" fmla="*/ 256044 w 829105"/>
                    <a:gd name="connsiteY76" fmla="*/ 2143 h 914400"/>
                    <a:gd name="connsiteX77" fmla="*/ 257475 w 829105"/>
                    <a:gd name="connsiteY77" fmla="*/ 2857 h 914400"/>
                    <a:gd name="connsiteX78" fmla="*/ 259623 w 829105"/>
                    <a:gd name="connsiteY78" fmla="*/ 3571 h 914400"/>
                    <a:gd name="connsiteX79" fmla="*/ 260339 w 829105"/>
                    <a:gd name="connsiteY79" fmla="*/ 3571 h 914400"/>
                    <a:gd name="connsiteX80" fmla="*/ 261770 w 829105"/>
                    <a:gd name="connsiteY80" fmla="*/ 4285 h 914400"/>
                    <a:gd name="connsiteX81" fmla="*/ 263202 w 829105"/>
                    <a:gd name="connsiteY81" fmla="*/ 4999 h 914400"/>
                    <a:gd name="connsiteX82" fmla="*/ 264633 w 829105"/>
                    <a:gd name="connsiteY82" fmla="*/ 5714 h 914400"/>
                    <a:gd name="connsiteX83" fmla="*/ 266065 w 829105"/>
                    <a:gd name="connsiteY83" fmla="*/ 6428 h 914400"/>
                    <a:gd name="connsiteX84" fmla="*/ 266065 w 829105"/>
                    <a:gd name="connsiteY84" fmla="*/ 7142 h 914400"/>
                    <a:gd name="connsiteX85" fmla="*/ 267496 w 829105"/>
                    <a:gd name="connsiteY85" fmla="*/ 7856 h 914400"/>
                    <a:gd name="connsiteX86" fmla="*/ 268212 w 829105"/>
                    <a:gd name="connsiteY86" fmla="*/ 7856 h 914400"/>
                    <a:gd name="connsiteX87" fmla="*/ 269644 w 829105"/>
                    <a:gd name="connsiteY87" fmla="*/ 9285 h 914400"/>
                    <a:gd name="connsiteX88" fmla="*/ 271075 w 829105"/>
                    <a:gd name="connsiteY88" fmla="*/ 9999 h 914400"/>
                    <a:gd name="connsiteX89" fmla="*/ 465759 w 829105"/>
                    <a:gd name="connsiteY89" fmla="*/ 164270 h 914400"/>
                    <a:gd name="connsiteX90" fmla="*/ 473633 w 829105"/>
                    <a:gd name="connsiteY90" fmla="*/ 229978 h 914400"/>
                    <a:gd name="connsiteX91" fmla="*/ 436414 w 829105"/>
                    <a:gd name="connsiteY91" fmla="*/ 247834 h 914400"/>
                    <a:gd name="connsiteX92" fmla="*/ 407068 w 829105"/>
                    <a:gd name="connsiteY92" fmla="*/ 237835 h 914400"/>
                    <a:gd name="connsiteX93" fmla="*/ 288969 w 829105"/>
                    <a:gd name="connsiteY93" fmla="*/ 144272 h 914400"/>
                    <a:gd name="connsiteX94" fmla="*/ 288969 w 829105"/>
                    <a:gd name="connsiteY94" fmla="*/ 675651 h 914400"/>
                    <a:gd name="connsiteX95" fmla="*/ 273222 w 829105"/>
                    <a:gd name="connsiteY95" fmla="*/ 699935 h 914400"/>
                    <a:gd name="connsiteX96" fmla="*/ 257475 w 829105"/>
                    <a:gd name="connsiteY96" fmla="*/ 727075 h 914400"/>
                    <a:gd name="connsiteX97" fmla="*/ 257475 w 829105"/>
                    <a:gd name="connsiteY97" fmla="*/ 112132 h 914400"/>
                    <a:gd name="connsiteX98" fmla="*/ 266065 w 829105"/>
                    <a:gd name="connsiteY98" fmla="*/ 97848 h 914400"/>
                    <a:gd name="connsiteX99" fmla="*/ 283243 w 829105"/>
                    <a:gd name="connsiteY99" fmla="*/ 99991 h 914400"/>
                    <a:gd name="connsiteX100" fmla="*/ 426393 w 829105"/>
                    <a:gd name="connsiteY100" fmla="*/ 213551 h 914400"/>
                    <a:gd name="connsiteX101" fmla="*/ 436414 w 829105"/>
                    <a:gd name="connsiteY101" fmla="*/ 216408 h 914400"/>
                    <a:gd name="connsiteX102" fmla="*/ 448581 w 829105"/>
                    <a:gd name="connsiteY102" fmla="*/ 210694 h 914400"/>
                    <a:gd name="connsiteX103" fmla="*/ 446434 w 829105"/>
                    <a:gd name="connsiteY103" fmla="*/ 188554 h 914400"/>
                    <a:gd name="connsiteX104" fmla="*/ 251749 w 829105"/>
                    <a:gd name="connsiteY104" fmla="*/ 34997 h 914400"/>
                    <a:gd name="connsiteX105" fmla="*/ 251034 w 829105"/>
                    <a:gd name="connsiteY105" fmla="*/ 34282 h 914400"/>
                    <a:gd name="connsiteX106" fmla="*/ 250318 w 829105"/>
                    <a:gd name="connsiteY106" fmla="*/ 34282 h 914400"/>
                    <a:gd name="connsiteX107" fmla="*/ 250318 w 829105"/>
                    <a:gd name="connsiteY107" fmla="*/ 33568 h 914400"/>
                    <a:gd name="connsiteX108" fmla="*/ 249602 w 829105"/>
                    <a:gd name="connsiteY108" fmla="*/ 33568 h 914400"/>
                    <a:gd name="connsiteX109" fmla="*/ 248886 w 829105"/>
                    <a:gd name="connsiteY109" fmla="*/ 32854 h 914400"/>
                    <a:gd name="connsiteX110" fmla="*/ 248171 w 829105"/>
                    <a:gd name="connsiteY110" fmla="*/ 32854 h 914400"/>
                    <a:gd name="connsiteX111" fmla="*/ 247455 w 829105"/>
                    <a:gd name="connsiteY111" fmla="*/ 32854 h 914400"/>
                    <a:gd name="connsiteX112" fmla="*/ 246739 w 829105"/>
                    <a:gd name="connsiteY112" fmla="*/ 32140 h 914400"/>
                    <a:gd name="connsiteX113" fmla="*/ 246023 w 829105"/>
                    <a:gd name="connsiteY113" fmla="*/ 32140 h 914400"/>
                    <a:gd name="connsiteX114" fmla="*/ 245308 w 829105"/>
                    <a:gd name="connsiteY114" fmla="*/ 32140 h 914400"/>
                    <a:gd name="connsiteX115" fmla="*/ 244592 w 829105"/>
                    <a:gd name="connsiteY115" fmla="*/ 31426 h 914400"/>
                    <a:gd name="connsiteX116" fmla="*/ 243876 w 829105"/>
                    <a:gd name="connsiteY116" fmla="*/ 31426 h 914400"/>
                    <a:gd name="connsiteX117" fmla="*/ 241729 w 829105"/>
                    <a:gd name="connsiteY117" fmla="*/ 31426 h 914400"/>
                    <a:gd name="connsiteX118" fmla="*/ 240297 w 829105"/>
                    <a:gd name="connsiteY118" fmla="*/ 31426 h 914400"/>
                    <a:gd name="connsiteX119" fmla="*/ 238150 w 829105"/>
                    <a:gd name="connsiteY119" fmla="*/ 32140 h 914400"/>
                    <a:gd name="connsiteX120" fmla="*/ 237434 w 829105"/>
                    <a:gd name="connsiteY120" fmla="*/ 32140 h 914400"/>
                    <a:gd name="connsiteX121" fmla="*/ 236718 w 829105"/>
                    <a:gd name="connsiteY121" fmla="*/ 32140 h 914400"/>
                    <a:gd name="connsiteX122" fmla="*/ 236003 w 829105"/>
                    <a:gd name="connsiteY122" fmla="*/ 32854 h 914400"/>
                    <a:gd name="connsiteX123" fmla="*/ 235287 w 829105"/>
                    <a:gd name="connsiteY123" fmla="*/ 32854 h 914400"/>
                    <a:gd name="connsiteX124" fmla="*/ 234571 w 829105"/>
                    <a:gd name="connsiteY124" fmla="*/ 32854 h 914400"/>
                    <a:gd name="connsiteX125" fmla="*/ 233855 w 829105"/>
                    <a:gd name="connsiteY125" fmla="*/ 33568 h 914400"/>
                    <a:gd name="connsiteX126" fmla="*/ 233140 w 829105"/>
                    <a:gd name="connsiteY126" fmla="*/ 34282 h 914400"/>
                    <a:gd name="connsiteX127" fmla="*/ 232424 w 829105"/>
                    <a:gd name="connsiteY127" fmla="*/ 34282 h 914400"/>
                    <a:gd name="connsiteX128" fmla="*/ 231708 w 829105"/>
                    <a:gd name="connsiteY128" fmla="*/ 34997 h 914400"/>
                    <a:gd name="connsiteX129" fmla="*/ 37024 w 829105"/>
                    <a:gd name="connsiteY129" fmla="*/ 188554 h 914400"/>
                    <a:gd name="connsiteX130" fmla="*/ 34877 w 829105"/>
                    <a:gd name="connsiteY130" fmla="*/ 210694 h 914400"/>
                    <a:gd name="connsiteX131" fmla="*/ 47044 w 829105"/>
                    <a:gd name="connsiteY131" fmla="*/ 216408 h 914400"/>
                    <a:gd name="connsiteX132" fmla="*/ 57065 w 829105"/>
                    <a:gd name="connsiteY132" fmla="*/ 213551 h 914400"/>
                    <a:gd name="connsiteX133" fmla="*/ 200215 w 829105"/>
                    <a:gd name="connsiteY133" fmla="*/ 99991 h 914400"/>
                    <a:gd name="connsiteX134" fmla="*/ 210236 w 829105"/>
                    <a:gd name="connsiteY134" fmla="*/ 96419 h 914400"/>
                    <a:gd name="connsiteX135" fmla="*/ 217393 w 829105"/>
                    <a:gd name="connsiteY135" fmla="*/ 97848 h 914400"/>
                    <a:gd name="connsiteX136" fmla="*/ 225982 w 829105"/>
                    <a:gd name="connsiteY136" fmla="*/ 112132 h 914400"/>
                    <a:gd name="connsiteX137" fmla="*/ 225982 w 829105"/>
                    <a:gd name="connsiteY137" fmla="*/ 727075 h 914400"/>
                    <a:gd name="connsiteX138" fmla="*/ 210236 w 829105"/>
                    <a:gd name="connsiteY138" fmla="*/ 699935 h 914400"/>
                    <a:gd name="connsiteX139" fmla="*/ 194489 w 829105"/>
                    <a:gd name="connsiteY139" fmla="*/ 675651 h 914400"/>
                    <a:gd name="connsiteX140" fmla="*/ 194489 w 829105"/>
                    <a:gd name="connsiteY140" fmla="*/ 144272 h 914400"/>
                    <a:gd name="connsiteX141" fmla="*/ 76390 w 829105"/>
                    <a:gd name="connsiteY141" fmla="*/ 237835 h 914400"/>
                    <a:gd name="connsiteX142" fmla="*/ 47044 w 829105"/>
                    <a:gd name="connsiteY142" fmla="*/ 247834 h 914400"/>
                    <a:gd name="connsiteX143" fmla="*/ 9825 w 829105"/>
                    <a:gd name="connsiteY143" fmla="*/ 229978 h 914400"/>
                    <a:gd name="connsiteX144" fmla="*/ 17699 w 829105"/>
                    <a:gd name="connsiteY144" fmla="*/ 164270 h 914400"/>
                    <a:gd name="connsiteX145" fmla="*/ 212383 w 829105"/>
                    <a:gd name="connsiteY145" fmla="*/ 9999 h 914400"/>
                    <a:gd name="connsiteX146" fmla="*/ 213814 w 829105"/>
                    <a:gd name="connsiteY146" fmla="*/ 9285 h 914400"/>
                    <a:gd name="connsiteX147" fmla="*/ 215246 w 829105"/>
                    <a:gd name="connsiteY147" fmla="*/ 7856 h 914400"/>
                    <a:gd name="connsiteX148" fmla="*/ 215962 w 829105"/>
                    <a:gd name="connsiteY148" fmla="*/ 7856 h 914400"/>
                    <a:gd name="connsiteX149" fmla="*/ 217393 w 829105"/>
                    <a:gd name="connsiteY149" fmla="*/ 7142 h 914400"/>
                    <a:gd name="connsiteX150" fmla="*/ 217393 w 829105"/>
                    <a:gd name="connsiteY150" fmla="*/ 6428 h 914400"/>
                    <a:gd name="connsiteX151" fmla="*/ 218825 w 829105"/>
                    <a:gd name="connsiteY151" fmla="*/ 5714 h 914400"/>
                    <a:gd name="connsiteX152" fmla="*/ 220256 w 829105"/>
                    <a:gd name="connsiteY152" fmla="*/ 4999 h 914400"/>
                    <a:gd name="connsiteX153" fmla="*/ 221688 w 829105"/>
                    <a:gd name="connsiteY153" fmla="*/ 4285 h 914400"/>
                    <a:gd name="connsiteX154" fmla="*/ 223119 w 829105"/>
                    <a:gd name="connsiteY154" fmla="*/ 3571 h 914400"/>
                    <a:gd name="connsiteX155" fmla="*/ 224551 w 829105"/>
                    <a:gd name="connsiteY155" fmla="*/ 3571 h 914400"/>
                    <a:gd name="connsiteX156" fmla="*/ 225982 w 829105"/>
                    <a:gd name="connsiteY156" fmla="*/ 2857 h 914400"/>
                    <a:gd name="connsiteX157" fmla="*/ 227414 w 829105"/>
                    <a:gd name="connsiteY157" fmla="*/ 2143 h 914400"/>
                    <a:gd name="connsiteX158" fmla="*/ 228129 w 829105"/>
                    <a:gd name="connsiteY158" fmla="*/ 2143 h 914400"/>
                    <a:gd name="connsiteX159" fmla="*/ 230992 w 829105"/>
                    <a:gd name="connsiteY159" fmla="*/ 1428 h 914400"/>
                    <a:gd name="connsiteX160" fmla="*/ 231708 w 829105"/>
                    <a:gd name="connsiteY160" fmla="*/ 714 h 914400"/>
                    <a:gd name="connsiteX161" fmla="*/ 233140 w 829105"/>
                    <a:gd name="connsiteY161" fmla="*/ 714 h 914400"/>
                    <a:gd name="connsiteX162" fmla="*/ 235287 w 829105"/>
                    <a:gd name="connsiteY162" fmla="*/ 714 h 914400"/>
                    <a:gd name="connsiteX163" fmla="*/ 236718 w 829105"/>
                    <a:gd name="connsiteY163" fmla="*/ 0 h 914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</a:cxnLst>
                  <a:rect l="l" t="t" r="r" b="b"/>
                  <a:pathLst>
                    <a:path w="829105" h="914400">
                      <a:moveTo>
                        <a:pt x="595862" y="301625"/>
                      </a:moveTo>
                      <a:cubicBezTo>
                        <a:pt x="601568" y="301625"/>
                        <a:pt x="607988" y="303054"/>
                        <a:pt x="613694" y="306624"/>
                      </a:cubicBezTo>
                      <a:cubicBezTo>
                        <a:pt x="613694" y="306624"/>
                        <a:pt x="613694" y="306624"/>
                        <a:pt x="813413" y="432322"/>
                      </a:cubicBezTo>
                      <a:cubicBezTo>
                        <a:pt x="814126" y="432322"/>
                        <a:pt x="814126" y="432322"/>
                        <a:pt x="814126" y="432322"/>
                      </a:cubicBezTo>
                      <a:cubicBezTo>
                        <a:pt x="814840" y="433036"/>
                        <a:pt x="815553" y="433036"/>
                        <a:pt x="815553" y="433750"/>
                      </a:cubicBezTo>
                      <a:cubicBezTo>
                        <a:pt x="816266" y="433750"/>
                        <a:pt x="816979" y="434464"/>
                        <a:pt x="816979" y="434464"/>
                      </a:cubicBezTo>
                      <a:cubicBezTo>
                        <a:pt x="817693" y="435179"/>
                        <a:pt x="817693" y="435179"/>
                        <a:pt x="818406" y="435893"/>
                      </a:cubicBezTo>
                      <a:cubicBezTo>
                        <a:pt x="819119" y="435893"/>
                        <a:pt x="819119" y="436607"/>
                        <a:pt x="819833" y="436607"/>
                      </a:cubicBezTo>
                      <a:cubicBezTo>
                        <a:pt x="819833" y="437321"/>
                        <a:pt x="820546" y="438035"/>
                        <a:pt x="820546" y="438035"/>
                      </a:cubicBezTo>
                      <a:cubicBezTo>
                        <a:pt x="821259" y="438750"/>
                        <a:pt x="821259" y="438750"/>
                        <a:pt x="821972" y="439464"/>
                      </a:cubicBezTo>
                      <a:cubicBezTo>
                        <a:pt x="821972" y="439464"/>
                        <a:pt x="821972" y="440178"/>
                        <a:pt x="821972" y="440178"/>
                      </a:cubicBezTo>
                      <a:cubicBezTo>
                        <a:pt x="822686" y="440178"/>
                        <a:pt x="822686" y="440178"/>
                        <a:pt x="822686" y="440892"/>
                      </a:cubicBezTo>
                      <a:cubicBezTo>
                        <a:pt x="823399" y="440892"/>
                        <a:pt x="823399" y="441606"/>
                        <a:pt x="823399" y="442321"/>
                      </a:cubicBezTo>
                      <a:cubicBezTo>
                        <a:pt x="824112" y="442321"/>
                        <a:pt x="824112" y="442321"/>
                        <a:pt x="824112" y="442321"/>
                      </a:cubicBezTo>
                      <a:cubicBezTo>
                        <a:pt x="824112" y="443035"/>
                        <a:pt x="824112" y="443035"/>
                        <a:pt x="824826" y="443035"/>
                      </a:cubicBezTo>
                      <a:cubicBezTo>
                        <a:pt x="824826" y="443749"/>
                        <a:pt x="824826" y="444463"/>
                        <a:pt x="825539" y="444463"/>
                      </a:cubicBezTo>
                      <a:cubicBezTo>
                        <a:pt x="825539" y="445177"/>
                        <a:pt x="825539" y="445177"/>
                        <a:pt x="825539" y="445177"/>
                      </a:cubicBezTo>
                      <a:cubicBezTo>
                        <a:pt x="825539" y="445892"/>
                        <a:pt x="826252" y="445892"/>
                        <a:pt x="826252" y="445892"/>
                      </a:cubicBezTo>
                      <a:cubicBezTo>
                        <a:pt x="826252" y="446606"/>
                        <a:pt x="826252" y="447320"/>
                        <a:pt x="826965" y="447320"/>
                      </a:cubicBezTo>
                      <a:cubicBezTo>
                        <a:pt x="826965" y="448034"/>
                        <a:pt x="826965" y="448034"/>
                        <a:pt x="826965" y="448748"/>
                      </a:cubicBezTo>
                      <a:cubicBezTo>
                        <a:pt x="826965" y="448748"/>
                        <a:pt x="826965" y="448748"/>
                        <a:pt x="826965" y="449462"/>
                      </a:cubicBezTo>
                      <a:cubicBezTo>
                        <a:pt x="827679" y="449462"/>
                        <a:pt x="827679" y="450177"/>
                        <a:pt x="827679" y="450891"/>
                      </a:cubicBezTo>
                      <a:cubicBezTo>
                        <a:pt x="827679" y="450891"/>
                        <a:pt x="827679" y="451605"/>
                        <a:pt x="827679" y="451605"/>
                      </a:cubicBezTo>
                      <a:cubicBezTo>
                        <a:pt x="828392" y="451605"/>
                        <a:pt x="828392" y="451605"/>
                        <a:pt x="828392" y="451605"/>
                      </a:cubicBezTo>
                      <a:cubicBezTo>
                        <a:pt x="828392" y="452319"/>
                        <a:pt x="828392" y="452319"/>
                        <a:pt x="828392" y="452319"/>
                      </a:cubicBezTo>
                      <a:cubicBezTo>
                        <a:pt x="828392" y="453033"/>
                        <a:pt x="828392" y="453033"/>
                        <a:pt x="828392" y="453748"/>
                      </a:cubicBezTo>
                      <a:cubicBezTo>
                        <a:pt x="828392" y="454462"/>
                        <a:pt x="828392" y="454462"/>
                        <a:pt x="828392" y="455176"/>
                      </a:cubicBezTo>
                      <a:cubicBezTo>
                        <a:pt x="829105" y="455176"/>
                        <a:pt x="829105" y="455176"/>
                        <a:pt x="829105" y="455176"/>
                      </a:cubicBezTo>
                      <a:cubicBezTo>
                        <a:pt x="829105" y="455890"/>
                        <a:pt x="829105" y="456604"/>
                        <a:pt x="829105" y="457319"/>
                      </a:cubicBezTo>
                      <a:cubicBezTo>
                        <a:pt x="829105" y="457319"/>
                        <a:pt x="829105" y="458033"/>
                        <a:pt x="829105" y="458033"/>
                      </a:cubicBezTo>
                      <a:cubicBezTo>
                        <a:pt x="829105" y="458747"/>
                        <a:pt x="829105" y="458747"/>
                        <a:pt x="829105" y="458747"/>
                      </a:cubicBezTo>
                      <a:cubicBezTo>
                        <a:pt x="829105" y="459461"/>
                        <a:pt x="829105" y="459461"/>
                        <a:pt x="829105" y="460175"/>
                      </a:cubicBezTo>
                      <a:cubicBezTo>
                        <a:pt x="829105" y="460889"/>
                        <a:pt x="829105" y="460889"/>
                        <a:pt x="829105" y="461604"/>
                      </a:cubicBezTo>
                      <a:cubicBezTo>
                        <a:pt x="829105" y="461604"/>
                        <a:pt x="829105" y="461604"/>
                        <a:pt x="829105" y="462318"/>
                      </a:cubicBezTo>
                      <a:cubicBezTo>
                        <a:pt x="829105" y="462318"/>
                        <a:pt x="829105" y="463032"/>
                        <a:pt x="829105" y="463746"/>
                      </a:cubicBezTo>
                      <a:cubicBezTo>
                        <a:pt x="829105" y="463746"/>
                        <a:pt x="829105" y="464460"/>
                        <a:pt x="829105" y="464460"/>
                      </a:cubicBezTo>
                      <a:cubicBezTo>
                        <a:pt x="829105" y="465175"/>
                        <a:pt x="829105" y="465175"/>
                        <a:pt x="829105" y="465175"/>
                      </a:cubicBezTo>
                      <a:cubicBezTo>
                        <a:pt x="829105" y="465889"/>
                        <a:pt x="828392" y="465889"/>
                        <a:pt x="828392" y="466603"/>
                      </a:cubicBezTo>
                      <a:cubicBezTo>
                        <a:pt x="828392" y="467317"/>
                        <a:pt x="828392" y="467317"/>
                        <a:pt x="828392" y="468031"/>
                      </a:cubicBezTo>
                      <a:cubicBezTo>
                        <a:pt x="828392" y="468031"/>
                        <a:pt x="828392" y="468031"/>
                        <a:pt x="828392" y="468746"/>
                      </a:cubicBezTo>
                      <a:cubicBezTo>
                        <a:pt x="828392" y="468746"/>
                        <a:pt x="827679" y="469460"/>
                        <a:pt x="827679" y="470174"/>
                      </a:cubicBezTo>
                      <a:cubicBezTo>
                        <a:pt x="827679" y="470174"/>
                        <a:pt x="827679" y="470888"/>
                        <a:pt x="827679" y="470888"/>
                      </a:cubicBezTo>
                      <a:cubicBezTo>
                        <a:pt x="827679" y="471602"/>
                        <a:pt x="826965" y="471602"/>
                        <a:pt x="826965" y="471602"/>
                      </a:cubicBezTo>
                      <a:cubicBezTo>
                        <a:pt x="826965" y="472317"/>
                        <a:pt x="826965" y="472317"/>
                        <a:pt x="826965" y="473031"/>
                      </a:cubicBezTo>
                      <a:cubicBezTo>
                        <a:pt x="826252" y="473745"/>
                        <a:pt x="826252" y="473745"/>
                        <a:pt x="826252" y="474459"/>
                      </a:cubicBezTo>
                      <a:cubicBezTo>
                        <a:pt x="825539" y="475173"/>
                        <a:pt x="825539" y="475887"/>
                        <a:pt x="825539" y="475887"/>
                      </a:cubicBezTo>
                      <a:cubicBezTo>
                        <a:pt x="824826" y="476602"/>
                        <a:pt x="824826" y="476602"/>
                        <a:pt x="824826" y="477316"/>
                      </a:cubicBezTo>
                      <a:cubicBezTo>
                        <a:pt x="824826" y="477316"/>
                        <a:pt x="824826" y="477316"/>
                        <a:pt x="707847" y="682288"/>
                      </a:cubicBezTo>
                      <a:cubicBezTo>
                        <a:pt x="701428" y="693001"/>
                        <a:pt x="690015" y="698715"/>
                        <a:pt x="678603" y="698715"/>
                      </a:cubicBezTo>
                      <a:cubicBezTo>
                        <a:pt x="672896" y="698715"/>
                        <a:pt x="667190" y="697286"/>
                        <a:pt x="662197" y="694430"/>
                      </a:cubicBezTo>
                      <a:cubicBezTo>
                        <a:pt x="646505" y="685145"/>
                        <a:pt x="640799" y="665148"/>
                        <a:pt x="650071" y="648721"/>
                      </a:cubicBezTo>
                      <a:cubicBezTo>
                        <a:pt x="650071" y="648721"/>
                        <a:pt x="650071" y="648721"/>
                        <a:pt x="730672" y="508026"/>
                      </a:cubicBezTo>
                      <a:cubicBezTo>
                        <a:pt x="543792" y="553020"/>
                        <a:pt x="349779" y="661577"/>
                        <a:pt x="292717" y="914400"/>
                      </a:cubicBezTo>
                      <a:cubicBezTo>
                        <a:pt x="291290" y="909401"/>
                        <a:pt x="290577" y="904401"/>
                        <a:pt x="289150" y="898688"/>
                      </a:cubicBezTo>
                      <a:cubicBezTo>
                        <a:pt x="284870" y="877976"/>
                        <a:pt x="279164" y="857979"/>
                        <a:pt x="273458" y="838696"/>
                      </a:cubicBezTo>
                      <a:cubicBezTo>
                        <a:pt x="269178" y="824412"/>
                        <a:pt x="264185" y="810843"/>
                        <a:pt x="259192" y="797273"/>
                      </a:cubicBezTo>
                      <a:cubicBezTo>
                        <a:pt x="263472" y="786560"/>
                        <a:pt x="268465" y="775847"/>
                        <a:pt x="273458" y="765134"/>
                      </a:cubicBezTo>
                      <a:cubicBezTo>
                        <a:pt x="278451" y="755136"/>
                        <a:pt x="283444" y="745137"/>
                        <a:pt x="289150" y="735138"/>
                      </a:cubicBezTo>
                      <a:cubicBezTo>
                        <a:pt x="312688" y="693001"/>
                        <a:pt x="341933" y="655149"/>
                        <a:pt x="376171" y="620868"/>
                      </a:cubicBezTo>
                      <a:cubicBezTo>
                        <a:pt x="458198" y="537308"/>
                        <a:pt x="569470" y="478744"/>
                        <a:pt x="707134" y="444463"/>
                      </a:cubicBezTo>
                      <a:cubicBezTo>
                        <a:pt x="707134" y="444463"/>
                        <a:pt x="707134" y="444463"/>
                        <a:pt x="578030" y="363760"/>
                      </a:cubicBezTo>
                      <a:cubicBezTo>
                        <a:pt x="562337" y="353761"/>
                        <a:pt x="558058" y="333049"/>
                        <a:pt x="567330" y="317337"/>
                      </a:cubicBezTo>
                      <a:cubicBezTo>
                        <a:pt x="573750" y="307339"/>
                        <a:pt x="584449" y="301625"/>
                        <a:pt x="595862" y="301625"/>
                      </a:cubicBezTo>
                      <a:close/>
                      <a:moveTo>
                        <a:pt x="236718" y="0"/>
                      </a:moveTo>
                      <a:cubicBezTo>
                        <a:pt x="236718" y="0"/>
                        <a:pt x="236718" y="0"/>
                        <a:pt x="237434" y="0"/>
                      </a:cubicBezTo>
                      <a:cubicBezTo>
                        <a:pt x="238150" y="0"/>
                        <a:pt x="238866" y="0"/>
                        <a:pt x="239582" y="0"/>
                      </a:cubicBezTo>
                      <a:cubicBezTo>
                        <a:pt x="240297" y="0"/>
                        <a:pt x="240297" y="0"/>
                        <a:pt x="241013" y="0"/>
                      </a:cubicBezTo>
                      <a:cubicBezTo>
                        <a:pt x="241729" y="0"/>
                        <a:pt x="242445" y="0"/>
                        <a:pt x="242445" y="0"/>
                      </a:cubicBezTo>
                      <a:cubicBezTo>
                        <a:pt x="243160" y="0"/>
                        <a:pt x="243160" y="0"/>
                        <a:pt x="243876" y="0"/>
                      </a:cubicBezTo>
                      <a:cubicBezTo>
                        <a:pt x="244592" y="0"/>
                        <a:pt x="245308" y="0"/>
                        <a:pt x="246023" y="0"/>
                      </a:cubicBezTo>
                      <a:cubicBezTo>
                        <a:pt x="246023" y="0"/>
                        <a:pt x="246739" y="0"/>
                        <a:pt x="246739" y="0"/>
                      </a:cubicBezTo>
                      <a:cubicBezTo>
                        <a:pt x="247455" y="0"/>
                        <a:pt x="247455" y="714"/>
                        <a:pt x="248171" y="714"/>
                      </a:cubicBezTo>
                      <a:cubicBezTo>
                        <a:pt x="248886" y="714"/>
                        <a:pt x="249602" y="714"/>
                        <a:pt x="250318" y="714"/>
                      </a:cubicBezTo>
                      <a:cubicBezTo>
                        <a:pt x="251034" y="714"/>
                        <a:pt x="251034" y="714"/>
                        <a:pt x="251749" y="1428"/>
                      </a:cubicBezTo>
                      <a:cubicBezTo>
                        <a:pt x="251749" y="1428"/>
                        <a:pt x="252465" y="1428"/>
                        <a:pt x="253181" y="1428"/>
                      </a:cubicBezTo>
                      <a:cubicBezTo>
                        <a:pt x="253181" y="1428"/>
                        <a:pt x="254612" y="1428"/>
                        <a:pt x="255328" y="2143"/>
                      </a:cubicBezTo>
                      <a:cubicBezTo>
                        <a:pt x="255328" y="2143"/>
                        <a:pt x="255328" y="2143"/>
                        <a:pt x="256044" y="2143"/>
                      </a:cubicBezTo>
                      <a:cubicBezTo>
                        <a:pt x="256760" y="2143"/>
                        <a:pt x="256760" y="2143"/>
                        <a:pt x="257475" y="2857"/>
                      </a:cubicBezTo>
                      <a:cubicBezTo>
                        <a:pt x="258191" y="2857"/>
                        <a:pt x="258907" y="2857"/>
                        <a:pt x="259623" y="3571"/>
                      </a:cubicBezTo>
                      <a:cubicBezTo>
                        <a:pt x="259623" y="3571"/>
                        <a:pt x="259623" y="3571"/>
                        <a:pt x="260339" y="3571"/>
                      </a:cubicBezTo>
                      <a:cubicBezTo>
                        <a:pt x="261055" y="4285"/>
                        <a:pt x="261055" y="4285"/>
                        <a:pt x="261770" y="4285"/>
                      </a:cubicBezTo>
                      <a:cubicBezTo>
                        <a:pt x="262486" y="4999"/>
                        <a:pt x="262486" y="4999"/>
                        <a:pt x="263202" y="4999"/>
                      </a:cubicBezTo>
                      <a:cubicBezTo>
                        <a:pt x="263918" y="5714"/>
                        <a:pt x="263918" y="5714"/>
                        <a:pt x="264633" y="5714"/>
                      </a:cubicBezTo>
                      <a:cubicBezTo>
                        <a:pt x="264633" y="5714"/>
                        <a:pt x="265349" y="6428"/>
                        <a:pt x="266065" y="6428"/>
                      </a:cubicBezTo>
                      <a:cubicBezTo>
                        <a:pt x="266065" y="6428"/>
                        <a:pt x="266065" y="6428"/>
                        <a:pt x="266065" y="7142"/>
                      </a:cubicBezTo>
                      <a:cubicBezTo>
                        <a:pt x="266781" y="7142"/>
                        <a:pt x="266781" y="7142"/>
                        <a:pt x="267496" y="7856"/>
                      </a:cubicBezTo>
                      <a:cubicBezTo>
                        <a:pt x="267496" y="7856"/>
                        <a:pt x="268212" y="7856"/>
                        <a:pt x="268212" y="7856"/>
                      </a:cubicBezTo>
                      <a:cubicBezTo>
                        <a:pt x="268928" y="8571"/>
                        <a:pt x="268928" y="8571"/>
                        <a:pt x="269644" y="9285"/>
                      </a:cubicBezTo>
                      <a:cubicBezTo>
                        <a:pt x="270359" y="9285"/>
                        <a:pt x="270359" y="9999"/>
                        <a:pt x="271075" y="9999"/>
                      </a:cubicBezTo>
                      <a:cubicBezTo>
                        <a:pt x="271075" y="9999"/>
                        <a:pt x="271075" y="9999"/>
                        <a:pt x="465759" y="164270"/>
                      </a:cubicBezTo>
                      <a:cubicBezTo>
                        <a:pt x="485800" y="179983"/>
                        <a:pt x="489379" y="209980"/>
                        <a:pt x="473633" y="229978"/>
                      </a:cubicBezTo>
                      <a:cubicBezTo>
                        <a:pt x="464328" y="241406"/>
                        <a:pt x="450729" y="247834"/>
                        <a:pt x="436414" y="247834"/>
                      </a:cubicBezTo>
                      <a:cubicBezTo>
                        <a:pt x="425677" y="247834"/>
                        <a:pt x="415657" y="244263"/>
                        <a:pt x="407068" y="237835"/>
                      </a:cubicBezTo>
                      <a:cubicBezTo>
                        <a:pt x="407068" y="237835"/>
                        <a:pt x="407068" y="237835"/>
                        <a:pt x="288969" y="144272"/>
                      </a:cubicBezTo>
                      <a:cubicBezTo>
                        <a:pt x="288969" y="144272"/>
                        <a:pt x="288969" y="144272"/>
                        <a:pt x="288969" y="675651"/>
                      </a:cubicBezTo>
                      <a:cubicBezTo>
                        <a:pt x="283243" y="683508"/>
                        <a:pt x="278233" y="692078"/>
                        <a:pt x="273222" y="699935"/>
                      </a:cubicBezTo>
                      <a:cubicBezTo>
                        <a:pt x="267496" y="708505"/>
                        <a:pt x="262486" y="717790"/>
                        <a:pt x="257475" y="727075"/>
                      </a:cubicBezTo>
                      <a:cubicBezTo>
                        <a:pt x="257475" y="727075"/>
                        <a:pt x="257475" y="727075"/>
                        <a:pt x="257475" y="112132"/>
                      </a:cubicBezTo>
                      <a:cubicBezTo>
                        <a:pt x="257475" y="106419"/>
                        <a:pt x="261055" y="100705"/>
                        <a:pt x="266065" y="97848"/>
                      </a:cubicBezTo>
                      <a:cubicBezTo>
                        <a:pt x="271791" y="94991"/>
                        <a:pt x="278233" y="95705"/>
                        <a:pt x="283243" y="99991"/>
                      </a:cubicBezTo>
                      <a:cubicBezTo>
                        <a:pt x="283243" y="99991"/>
                        <a:pt x="283243" y="99991"/>
                        <a:pt x="426393" y="213551"/>
                      </a:cubicBezTo>
                      <a:cubicBezTo>
                        <a:pt x="429972" y="215694"/>
                        <a:pt x="433551" y="216408"/>
                        <a:pt x="436414" y="216408"/>
                      </a:cubicBezTo>
                      <a:cubicBezTo>
                        <a:pt x="441424" y="216408"/>
                        <a:pt x="445718" y="214266"/>
                        <a:pt x="448581" y="210694"/>
                      </a:cubicBezTo>
                      <a:cubicBezTo>
                        <a:pt x="454307" y="203552"/>
                        <a:pt x="452876" y="194267"/>
                        <a:pt x="446434" y="188554"/>
                      </a:cubicBezTo>
                      <a:cubicBezTo>
                        <a:pt x="446434" y="188554"/>
                        <a:pt x="446434" y="188554"/>
                        <a:pt x="251749" y="34997"/>
                      </a:cubicBezTo>
                      <a:cubicBezTo>
                        <a:pt x="251749" y="34997"/>
                        <a:pt x="251034" y="34997"/>
                        <a:pt x="251034" y="34282"/>
                      </a:cubicBezTo>
                      <a:cubicBezTo>
                        <a:pt x="251034" y="34282"/>
                        <a:pt x="251034" y="34282"/>
                        <a:pt x="250318" y="34282"/>
                      </a:cubicBezTo>
                      <a:cubicBezTo>
                        <a:pt x="250318" y="34282"/>
                        <a:pt x="250318" y="34282"/>
                        <a:pt x="250318" y="33568"/>
                      </a:cubicBezTo>
                      <a:cubicBezTo>
                        <a:pt x="250318" y="33568"/>
                        <a:pt x="249602" y="33568"/>
                        <a:pt x="249602" y="33568"/>
                      </a:cubicBezTo>
                      <a:cubicBezTo>
                        <a:pt x="248886" y="33568"/>
                        <a:pt x="248886" y="33568"/>
                        <a:pt x="248886" y="32854"/>
                      </a:cubicBezTo>
                      <a:cubicBezTo>
                        <a:pt x="248886" y="32854"/>
                        <a:pt x="248886" y="32854"/>
                        <a:pt x="248171" y="32854"/>
                      </a:cubicBezTo>
                      <a:cubicBezTo>
                        <a:pt x="247455" y="32854"/>
                        <a:pt x="247455" y="32854"/>
                        <a:pt x="247455" y="32854"/>
                      </a:cubicBezTo>
                      <a:cubicBezTo>
                        <a:pt x="247455" y="32854"/>
                        <a:pt x="247455" y="32140"/>
                        <a:pt x="246739" y="32140"/>
                      </a:cubicBezTo>
                      <a:cubicBezTo>
                        <a:pt x="246739" y="32140"/>
                        <a:pt x="246739" y="32140"/>
                        <a:pt x="246023" y="32140"/>
                      </a:cubicBezTo>
                      <a:cubicBezTo>
                        <a:pt x="246023" y="32140"/>
                        <a:pt x="246023" y="32140"/>
                        <a:pt x="245308" y="32140"/>
                      </a:cubicBezTo>
                      <a:cubicBezTo>
                        <a:pt x="245308" y="32140"/>
                        <a:pt x="245308" y="32140"/>
                        <a:pt x="244592" y="31426"/>
                      </a:cubicBezTo>
                      <a:cubicBezTo>
                        <a:pt x="244592" y="31426"/>
                        <a:pt x="243876" y="31426"/>
                        <a:pt x="243876" y="31426"/>
                      </a:cubicBezTo>
                      <a:cubicBezTo>
                        <a:pt x="243876" y="31426"/>
                        <a:pt x="243876" y="31426"/>
                        <a:pt x="241729" y="31426"/>
                      </a:cubicBezTo>
                      <a:cubicBezTo>
                        <a:pt x="241729" y="31426"/>
                        <a:pt x="241729" y="31426"/>
                        <a:pt x="240297" y="31426"/>
                      </a:cubicBezTo>
                      <a:cubicBezTo>
                        <a:pt x="240297" y="31426"/>
                        <a:pt x="240297" y="31426"/>
                        <a:pt x="238150" y="32140"/>
                      </a:cubicBezTo>
                      <a:cubicBezTo>
                        <a:pt x="237434" y="32140"/>
                        <a:pt x="237434" y="32140"/>
                        <a:pt x="237434" y="32140"/>
                      </a:cubicBezTo>
                      <a:cubicBezTo>
                        <a:pt x="237434" y="32140"/>
                        <a:pt x="237434" y="32140"/>
                        <a:pt x="236718" y="32140"/>
                      </a:cubicBezTo>
                      <a:cubicBezTo>
                        <a:pt x="236003" y="32140"/>
                        <a:pt x="236003" y="32140"/>
                        <a:pt x="236003" y="32854"/>
                      </a:cubicBezTo>
                      <a:cubicBezTo>
                        <a:pt x="236003" y="32854"/>
                        <a:pt x="236003" y="32854"/>
                        <a:pt x="235287" y="32854"/>
                      </a:cubicBezTo>
                      <a:cubicBezTo>
                        <a:pt x="235287" y="32854"/>
                        <a:pt x="235287" y="32854"/>
                        <a:pt x="234571" y="32854"/>
                      </a:cubicBezTo>
                      <a:cubicBezTo>
                        <a:pt x="234571" y="33568"/>
                        <a:pt x="234571" y="33568"/>
                        <a:pt x="233855" y="33568"/>
                      </a:cubicBezTo>
                      <a:cubicBezTo>
                        <a:pt x="233855" y="33568"/>
                        <a:pt x="233855" y="33568"/>
                        <a:pt x="233140" y="34282"/>
                      </a:cubicBezTo>
                      <a:cubicBezTo>
                        <a:pt x="233140" y="34282"/>
                        <a:pt x="233140" y="34282"/>
                        <a:pt x="232424" y="34282"/>
                      </a:cubicBezTo>
                      <a:cubicBezTo>
                        <a:pt x="232424" y="34997"/>
                        <a:pt x="231708" y="34997"/>
                        <a:pt x="231708" y="34997"/>
                      </a:cubicBezTo>
                      <a:cubicBezTo>
                        <a:pt x="231708" y="34997"/>
                        <a:pt x="231708" y="34997"/>
                        <a:pt x="37024" y="188554"/>
                      </a:cubicBezTo>
                      <a:cubicBezTo>
                        <a:pt x="30582" y="194267"/>
                        <a:pt x="29151" y="203552"/>
                        <a:pt x="34877" y="210694"/>
                      </a:cubicBezTo>
                      <a:cubicBezTo>
                        <a:pt x="37740" y="214266"/>
                        <a:pt x="42034" y="216408"/>
                        <a:pt x="47044" y="216408"/>
                      </a:cubicBezTo>
                      <a:cubicBezTo>
                        <a:pt x="49907" y="216408"/>
                        <a:pt x="53486" y="215694"/>
                        <a:pt x="57065" y="213551"/>
                      </a:cubicBezTo>
                      <a:cubicBezTo>
                        <a:pt x="57065" y="213551"/>
                        <a:pt x="57065" y="213551"/>
                        <a:pt x="200215" y="99991"/>
                      </a:cubicBezTo>
                      <a:cubicBezTo>
                        <a:pt x="203078" y="97848"/>
                        <a:pt x="206657" y="96419"/>
                        <a:pt x="210236" y="96419"/>
                      </a:cubicBezTo>
                      <a:cubicBezTo>
                        <a:pt x="212383" y="96419"/>
                        <a:pt x="215246" y="97134"/>
                        <a:pt x="217393" y="97848"/>
                      </a:cubicBezTo>
                      <a:cubicBezTo>
                        <a:pt x="222403" y="100705"/>
                        <a:pt x="225982" y="106419"/>
                        <a:pt x="225982" y="112132"/>
                      </a:cubicBezTo>
                      <a:cubicBezTo>
                        <a:pt x="225982" y="112132"/>
                        <a:pt x="225982" y="112132"/>
                        <a:pt x="225982" y="727075"/>
                      </a:cubicBezTo>
                      <a:cubicBezTo>
                        <a:pt x="220972" y="717790"/>
                        <a:pt x="215962" y="708505"/>
                        <a:pt x="210236" y="699935"/>
                      </a:cubicBezTo>
                      <a:cubicBezTo>
                        <a:pt x="205225" y="692078"/>
                        <a:pt x="200215" y="683508"/>
                        <a:pt x="194489" y="675651"/>
                      </a:cubicBezTo>
                      <a:cubicBezTo>
                        <a:pt x="194489" y="675651"/>
                        <a:pt x="194489" y="675651"/>
                        <a:pt x="194489" y="144272"/>
                      </a:cubicBezTo>
                      <a:cubicBezTo>
                        <a:pt x="194489" y="144272"/>
                        <a:pt x="194489" y="144272"/>
                        <a:pt x="76390" y="237835"/>
                      </a:cubicBezTo>
                      <a:cubicBezTo>
                        <a:pt x="67801" y="244263"/>
                        <a:pt x="57781" y="247834"/>
                        <a:pt x="47044" y="247834"/>
                      </a:cubicBezTo>
                      <a:cubicBezTo>
                        <a:pt x="32729" y="247834"/>
                        <a:pt x="19130" y="241406"/>
                        <a:pt x="9825" y="229978"/>
                      </a:cubicBezTo>
                      <a:cubicBezTo>
                        <a:pt x="-5921" y="209980"/>
                        <a:pt x="-2342" y="179983"/>
                        <a:pt x="17699" y="164270"/>
                      </a:cubicBezTo>
                      <a:cubicBezTo>
                        <a:pt x="17699" y="164270"/>
                        <a:pt x="17699" y="164270"/>
                        <a:pt x="212383" y="9999"/>
                      </a:cubicBezTo>
                      <a:cubicBezTo>
                        <a:pt x="213099" y="9999"/>
                        <a:pt x="213099" y="9285"/>
                        <a:pt x="213814" y="9285"/>
                      </a:cubicBezTo>
                      <a:cubicBezTo>
                        <a:pt x="214530" y="8571"/>
                        <a:pt x="214530" y="8571"/>
                        <a:pt x="215246" y="7856"/>
                      </a:cubicBezTo>
                      <a:cubicBezTo>
                        <a:pt x="215246" y="7856"/>
                        <a:pt x="215962" y="7856"/>
                        <a:pt x="215962" y="7856"/>
                      </a:cubicBezTo>
                      <a:cubicBezTo>
                        <a:pt x="216677" y="7142"/>
                        <a:pt x="216677" y="7142"/>
                        <a:pt x="217393" y="7142"/>
                      </a:cubicBezTo>
                      <a:cubicBezTo>
                        <a:pt x="217393" y="7142"/>
                        <a:pt x="217393" y="7142"/>
                        <a:pt x="217393" y="6428"/>
                      </a:cubicBezTo>
                      <a:cubicBezTo>
                        <a:pt x="218109" y="6428"/>
                        <a:pt x="218825" y="5714"/>
                        <a:pt x="218825" y="5714"/>
                      </a:cubicBezTo>
                      <a:cubicBezTo>
                        <a:pt x="219540" y="5714"/>
                        <a:pt x="219540" y="5714"/>
                        <a:pt x="220256" y="4999"/>
                      </a:cubicBezTo>
                      <a:cubicBezTo>
                        <a:pt x="220256" y="4999"/>
                        <a:pt x="220972" y="4999"/>
                        <a:pt x="221688" y="4285"/>
                      </a:cubicBezTo>
                      <a:cubicBezTo>
                        <a:pt x="222403" y="4285"/>
                        <a:pt x="222403" y="4285"/>
                        <a:pt x="223119" y="3571"/>
                      </a:cubicBezTo>
                      <a:cubicBezTo>
                        <a:pt x="223835" y="3571"/>
                        <a:pt x="223835" y="3571"/>
                        <a:pt x="224551" y="3571"/>
                      </a:cubicBezTo>
                      <a:cubicBezTo>
                        <a:pt x="225266" y="2857"/>
                        <a:pt x="225266" y="2857"/>
                        <a:pt x="225982" y="2857"/>
                      </a:cubicBezTo>
                      <a:cubicBezTo>
                        <a:pt x="226698" y="2857"/>
                        <a:pt x="226698" y="2143"/>
                        <a:pt x="227414" y="2143"/>
                      </a:cubicBezTo>
                      <a:cubicBezTo>
                        <a:pt x="228129" y="2143"/>
                        <a:pt x="228129" y="2143"/>
                        <a:pt x="228129" y="2143"/>
                      </a:cubicBezTo>
                      <a:cubicBezTo>
                        <a:pt x="228845" y="1428"/>
                        <a:pt x="230277" y="1428"/>
                        <a:pt x="230992" y="1428"/>
                      </a:cubicBezTo>
                      <a:cubicBezTo>
                        <a:pt x="230992" y="1428"/>
                        <a:pt x="231708" y="1428"/>
                        <a:pt x="231708" y="714"/>
                      </a:cubicBezTo>
                      <a:cubicBezTo>
                        <a:pt x="232424" y="714"/>
                        <a:pt x="232424" y="714"/>
                        <a:pt x="233140" y="714"/>
                      </a:cubicBezTo>
                      <a:cubicBezTo>
                        <a:pt x="233855" y="714"/>
                        <a:pt x="234571" y="714"/>
                        <a:pt x="235287" y="714"/>
                      </a:cubicBezTo>
                      <a:cubicBezTo>
                        <a:pt x="236003" y="714"/>
                        <a:pt x="236003" y="0"/>
                        <a:pt x="236718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84" name="Freeform 95">
                  <a:extLst>
                    <a:ext uri="{FF2B5EF4-FFF2-40B4-BE49-F238E27FC236}">
                      <a16:creationId xmlns:a16="http://schemas.microsoft.com/office/drawing/2014/main" id="{DB6B2555-BBE3-40CA-837B-8D6DD8E5F3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8625" y="3076575"/>
                  <a:ext cx="620713" cy="806450"/>
                </a:xfrm>
                <a:custGeom>
                  <a:avLst/>
                  <a:gdLst>
                    <a:gd name="T0" fmla="*/ 845 w 870"/>
                    <a:gd name="T1" fmla="*/ 841 h 1130"/>
                    <a:gd name="T2" fmla="*/ 811 w 870"/>
                    <a:gd name="T3" fmla="*/ 725 h 1130"/>
                    <a:gd name="T4" fmla="*/ 799 w 870"/>
                    <a:gd name="T5" fmla="*/ 694 h 1130"/>
                    <a:gd name="T6" fmla="*/ 757 w 870"/>
                    <a:gd name="T7" fmla="*/ 607 h 1130"/>
                    <a:gd name="T8" fmla="*/ 171 w 870"/>
                    <a:gd name="T9" fmla="*/ 200 h 1130"/>
                    <a:gd name="T10" fmla="*/ 367 w 870"/>
                    <a:gd name="T11" fmla="*/ 22 h 1130"/>
                    <a:gd name="T12" fmla="*/ 302 w 870"/>
                    <a:gd name="T13" fmla="*/ 7 h 1130"/>
                    <a:gd name="T14" fmla="*/ 21 w 870"/>
                    <a:gd name="T15" fmla="*/ 183 h 1130"/>
                    <a:gd name="T16" fmla="*/ 19 w 870"/>
                    <a:gd name="T17" fmla="*/ 185 h 1130"/>
                    <a:gd name="T18" fmla="*/ 15 w 870"/>
                    <a:gd name="T19" fmla="*/ 188 h 1130"/>
                    <a:gd name="T20" fmla="*/ 13 w 870"/>
                    <a:gd name="T21" fmla="*/ 190 h 1130"/>
                    <a:gd name="T22" fmla="*/ 12 w 870"/>
                    <a:gd name="T23" fmla="*/ 191 h 1130"/>
                    <a:gd name="T24" fmla="*/ 10 w 870"/>
                    <a:gd name="T25" fmla="*/ 194 h 1130"/>
                    <a:gd name="T26" fmla="*/ 8 w 870"/>
                    <a:gd name="T27" fmla="*/ 196 h 1130"/>
                    <a:gd name="T28" fmla="*/ 6 w 870"/>
                    <a:gd name="T29" fmla="*/ 198 h 1130"/>
                    <a:gd name="T30" fmla="*/ 5 w 870"/>
                    <a:gd name="T31" fmla="*/ 202 h 1130"/>
                    <a:gd name="T32" fmla="*/ 3 w 870"/>
                    <a:gd name="T33" fmla="*/ 204 h 1130"/>
                    <a:gd name="T34" fmla="*/ 3 w 870"/>
                    <a:gd name="T35" fmla="*/ 207 h 1130"/>
                    <a:gd name="T36" fmla="*/ 2 w 870"/>
                    <a:gd name="T37" fmla="*/ 210 h 1130"/>
                    <a:gd name="T38" fmla="*/ 1 w 870"/>
                    <a:gd name="T39" fmla="*/ 211 h 1130"/>
                    <a:gd name="T40" fmla="*/ 1 w 870"/>
                    <a:gd name="T41" fmla="*/ 215 h 1130"/>
                    <a:gd name="T42" fmla="*/ 0 w 870"/>
                    <a:gd name="T43" fmla="*/ 215 h 1130"/>
                    <a:gd name="T44" fmla="*/ 0 w 870"/>
                    <a:gd name="T45" fmla="*/ 219 h 1130"/>
                    <a:gd name="T46" fmla="*/ 0 w 870"/>
                    <a:gd name="T47" fmla="*/ 222 h 1130"/>
                    <a:gd name="T48" fmla="*/ 0 w 870"/>
                    <a:gd name="T49" fmla="*/ 225 h 1130"/>
                    <a:gd name="T50" fmla="*/ 0 w 870"/>
                    <a:gd name="T51" fmla="*/ 228 h 1130"/>
                    <a:gd name="T52" fmla="*/ 1 w 870"/>
                    <a:gd name="T53" fmla="*/ 231 h 1130"/>
                    <a:gd name="T54" fmla="*/ 1 w 870"/>
                    <a:gd name="T55" fmla="*/ 234 h 1130"/>
                    <a:gd name="T56" fmla="*/ 2 w 870"/>
                    <a:gd name="T57" fmla="*/ 237 h 1130"/>
                    <a:gd name="T58" fmla="*/ 3 w 870"/>
                    <a:gd name="T59" fmla="*/ 240 h 1130"/>
                    <a:gd name="T60" fmla="*/ 4 w 870"/>
                    <a:gd name="T61" fmla="*/ 242 h 1130"/>
                    <a:gd name="T62" fmla="*/ 6 w 870"/>
                    <a:gd name="T63" fmla="*/ 246 h 1130"/>
                    <a:gd name="T64" fmla="*/ 211 w 870"/>
                    <a:gd name="T65" fmla="*/ 556 h 1130"/>
                    <a:gd name="T66" fmla="*/ 251 w 870"/>
                    <a:gd name="T67" fmla="*/ 486 h 1130"/>
                    <a:gd name="T68" fmla="*/ 752 w 870"/>
                    <a:gd name="T69" fmla="*/ 858 h 1130"/>
                    <a:gd name="T70" fmla="*/ 765 w 870"/>
                    <a:gd name="T71" fmla="*/ 922 h 1130"/>
                    <a:gd name="T72" fmla="*/ 819 w 870"/>
                    <a:gd name="T73" fmla="*/ 1130 h 1130"/>
                    <a:gd name="T74" fmla="*/ 827 w 870"/>
                    <a:gd name="T75" fmla="*/ 1130 h 1130"/>
                    <a:gd name="T76" fmla="*/ 867 w 870"/>
                    <a:gd name="T77" fmla="*/ 999 h 1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870" h="1130">
                      <a:moveTo>
                        <a:pt x="867" y="999"/>
                      </a:moveTo>
                      <a:cubicBezTo>
                        <a:pt x="863" y="944"/>
                        <a:pt x="856" y="891"/>
                        <a:pt x="845" y="841"/>
                      </a:cubicBezTo>
                      <a:cubicBezTo>
                        <a:pt x="839" y="813"/>
                        <a:pt x="831" y="786"/>
                        <a:pt x="823" y="759"/>
                      </a:cubicBezTo>
                      <a:cubicBezTo>
                        <a:pt x="819" y="748"/>
                        <a:pt x="815" y="736"/>
                        <a:pt x="811" y="725"/>
                      </a:cubicBezTo>
                      <a:cubicBezTo>
                        <a:pt x="808" y="716"/>
                        <a:pt x="805" y="707"/>
                        <a:pt x="801" y="698"/>
                      </a:cubicBezTo>
                      <a:cubicBezTo>
                        <a:pt x="800" y="697"/>
                        <a:pt x="800" y="696"/>
                        <a:pt x="799" y="694"/>
                      </a:cubicBezTo>
                      <a:cubicBezTo>
                        <a:pt x="793" y="679"/>
                        <a:pt x="786" y="664"/>
                        <a:pt x="779" y="649"/>
                      </a:cubicBezTo>
                      <a:cubicBezTo>
                        <a:pt x="772" y="635"/>
                        <a:pt x="765" y="621"/>
                        <a:pt x="757" y="607"/>
                      </a:cubicBezTo>
                      <a:cubicBezTo>
                        <a:pt x="724" y="548"/>
                        <a:pt x="683" y="495"/>
                        <a:pt x="635" y="447"/>
                      </a:cubicBezTo>
                      <a:cubicBezTo>
                        <a:pt x="520" y="330"/>
                        <a:pt x="364" y="248"/>
                        <a:pt x="171" y="200"/>
                      </a:cubicBezTo>
                      <a:cubicBezTo>
                        <a:pt x="352" y="87"/>
                        <a:pt x="352" y="87"/>
                        <a:pt x="352" y="87"/>
                      </a:cubicBezTo>
                      <a:cubicBezTo>
                        <a:pt x="374" y="73"/>
                        <a:pt x="380" y="44"/>
                        <a:pt x="367" y="22"/>
                      </a:cubicBezTo>
                      <a:cubicBezTo>
                        <a:pt x="358" y="8"/>
                        <a:pt x="343" y="0"/>
                        <a:pt x="327" y="0"/>
                      </a:cubicBezTo>
                      <a:cubicBezTo>
                        <a:pt x="319" y="0"/>
                        <a:pt x="310" y="2"/>
                        <a:pt x="302" y="7"/>
                      </a:cubicBezTo>
                      <a:cubicBezTo>
                        <a:pt x="22" y="183"/>
                        <a:pt x="22" y="183"/>
                        <a:pt x="22" y="183"/>
                      </a:cubicBezTo>
                      <a:cubicBezTo>
                        <a:pt x="21" y="183"/>
                        <a:pt x="21" y="183"/>
                        <a:pt x="21" y="183"/>
                      </a:cubicBezTo>
                      <a:cubicBezTo>
                        <a:pt x="21" y="183"/>
                        <a:pt x="21" y="183"/>
                        <a:pt x="21" y="184"/>
                      </a:cubicBezTo>
                      <a:cubicBezTo>
                        <a:pt x="20" y="184"/>
                        <a:pt x="19" y="184"/>
                        <a:pt x="19" y="185"/>
                      </a:cubicBezTo>
                      <a:cubicBezTo>
                        <a:pt x="18" y="185"/>
                        <a:pt x="17" y="186"/>
                        <a:pt x="17" y="186"/>
                      </a:cubicBezTo>
                      <a:cubicBezTo>
                        <a:pt x="16" y="187"/>
                        <a:pt x="16" y="187"/>
                        <a:pt x="15" y="188"/>
                      </a:cubicBezTo>
                      <a:cubicBezTo>
                        <a:pt x="14" y="188"/>
                        <a:pt x="14" y="189"/>
                        <a:pt x="13" y="189"/>
                      </a:cubicBezTo>
                      <a:cubicBezTo>
                        <a:pt x="13" y="189"/>
                        <a:pt x="13" y="190"/>
                        <a:pt x="13" y="190"/>
                      </a:cubicBezTo>
                      <a:cubicBezTo>
                        <a:pt x="13" y="190"/>
                        <a:pt x="13" y="190"/>
                        <a:pt x="13" y="190"/>
                      </a:cubicBezTo>
                      <a:cubicBezTo>
                        <a:pt x="12" y="191"/>
                        <a:pt x="12" y="191"/>
                        <a:pt x="12" y="191"/>
                      </a:cubicBezTo>
                      <a:cubicBezTo>
                        <a:pt x="11" y="192"/>
                        <a:pt x="11" y="192"/>
                        <a:pt x="10" y="193"/>
                      </a:cubicBezTo>
                      <a:cubicBezTo>
                        <a:pt x="10" y="193"/>
                        <a:pt x="10" y="193"/>
                        <a:pt x="10" y="194"/>
                      </a:cubicBezTo>
                      <a:cubicBezTo>
                        <a:pt x="9" y="194"/>
                        <a:pt x="9" y="194"/>
                        <a:pt x="9" y="195"/>
                      </a:cubicBezTo>
                      <a:cubicBezTo>
                        <a:pt x="9" y="195"/>
                        <a:pt x="8" y="196"/>
                        <a:pt x="8" y="196"/>
                      </a:cubicBezTo>
                      <a:cubicBezTo>
                        <a:pt x="7" y="197"/>
                        <a:pt x="7" y="197"/>
                        <a:pt x="7" y="198"/>
                      </a:cubicBezTo>
                      <a:cubicBezTo>
                        <a:pt x="7" y="198"/>
                        <a:pt x="7" y="198"/>
                        <a:pt x="6" y="198"/>
                      </a:cubicBezTo>
                      <a:cubicBezTo>
                        <a:pt x="6" y="199"/>
                        <a:pt x="6" y="200"/>
                        <a:pt x="5" y="200"/>
                      </a:cubicBezTo>
                      <a:cubicBezTo>
                        <a:pt x="5" y="201"/>
                        <a:pt x="5" y="201"/>
                        <a:pt x="5" y="202"/>
                      </a:cubicBezTo>
                      <a:cubicBezTo>
                        <a:pt x="5" y="202"/>
                        <a:pt x="4" y="202"/>
                        <a:pt x="4" y="202"/>
                      </a:cubicBezTo>
                      <a:cubicBezTo>
                        <a:pt x="4" y="203"/>
                        <a:pt x="4" y="204"/>
                        <a:pt x="3" y="204"/>
                      </a:cubicBezTo>
                      <a:cubicBezTo>
                        <a:pt x="3" y="205"/>
                        <a:pt x="3" y="205"/>
                        <a:pt x="3" y="206"/>
                      </a:cubicBezTo>
                      <a:cubicBezTo>
                        <a:pt x="3" y="206"/>
                        <a:pt x="3" y="206"/>
                        <a:pt x="3" y="207"/>
                      </a:cubicBezTo>
                      <a:cubicBezTo>
                        <a:pt x="2" y="207"/>
                        <a:pt x="2" y="208"/>
                        <a:pt x="2" y="209"/>
                      </a:cubicBezTo>
                      <a:cubicBezTo>
                        <a:pt x="2" y="209"/>
                        <a:pt x="2" y="210"/>
                        <a:pt x="2" y="210"/>
                      </a:cubicBezTo>
                      <a:cubicBezTo>
                        <a:pt x="1" y="210"/>
                        <a:pt x="1" y="210"/>
                        <a:pt x="1" y="210"/>
                      </a:cubicBezTo>
                      <a:cubicBezTo>
                        <a:pt x="1" y="211"/>
                        <a:pt x="1" y="211"/>
                        <a:pt x="1" y="211"/>
                      </a:cubicBezTo>
                      <a:cubicBezTo>
                        <a:pt x="1" y="212"/>
                        <a:pt x="1" y="212"/>
                        <a:pt x="1" y="213"/>
                      </a:cubicBezTo>
                      <a:cubicBezTo>
                        <a:pt x="1" y="214"/>
                        <a:pt x="1" y="214"/>
                        <a:pt x="1" y="215"/>
                      </a:cubicBezTo>
                      <a:cubicBezTo>
                        <a:pt x="1" y="215"/>
                        <a:pt x="1" y="215"/>
                        <a:pt x="1" y="215"/>
                      </a:cubicBezTo>
                      <a:cubicBezTo>
                        <a:pt x="0" y="215"/>
                        <a:pt x="0" y="215"/>
                        <a:pt x="0" y="215"/>
                      </a:cubicBezTo>
                      <a:cubicBezTo>
                        <a:pt x="0" y="216"/>
                        <a:pt x="0" y="217"/>
                        <a:pt x="0" y="218"/>
                      </a:cubicBezTo>
                      <a:cubicBezTo>
                        <a:pt x="0" y="218"/>
                        <a:pt x="0" y="219"/>
                        <a:pt x="0" y="219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21"/>
                        <a:pt x="0" y="221"/>
                        <a:pt x="0" y="222"/>
                      </a:cubicBezTo>
                      <a:cubicBezTo>
                        <a:pt x="0" y="223"/>
                        <a:pt x="0" y="223"/>
                        <a:pt x="0" y="224"/>
                      </a:cubicBezTo>
                      <a:cubicBezTo>
                        <a:pt x="0" y="224"/>
                        <a:pt x="0" y="224"/>
                        <a:pt x="0" y="225"/>
                      </a:cubicBezTo>
                      <a:cubicBezTo>
                        <a:pt x="0" y="225"/>
                        <a:pt x="0" y="226"/>
                        <a:pt x="0" y="227"/>
                      </a:cubicBezTo>
                      <a:cubicBezTo>
                        <a:pt x="0" y="227"/>
                        <a:pt x="0" y="228"/>
                        <a:pt x="0" y="228"/>
                      </a:cubicBezTo>
                      <a:cubicBezTo>
                        <a:pt x="0" y="229"/>
                        <a:pt x="0" y="229"/>
                        <a:pt x="0" y="229"/>
                      </a:cubicBezTo>
                      <a:cubicBezTo>
                        <a:pt x="0" y="230"/>
                        <a:pt x="1" y="230"/>
                        <a:pt x="1" y="231"/>
                      </a:cubicBezTo>
                      <a:cubicBezTo>
                        <a:pt x="1" y="232"/>
                        <a:pt x="1" y="232"/>
                        <a:pt x="1" y="233"/>
                      </a:cubicBezTo>
                      <a:cubicBezTo>
                        <a:pt x="1" y="233"/>
                        <a:pt x="1" y="233"/>
                        <a:pt x="1" y="234"/>
                      </a:cubicBezTo>
                      <a:cubicBezTo>
                        <a:pt x="1" y="234"/>
                        <a:pt x="2" y="235"/>
                        <a:pt x="2" y="236"/>
                      </a:cubicBezTo>
                      <a:cubicBezTo>
                        <a:pt x="2" y="236"/>
                        <a:pt x="2" y="237"/>
                        <a:pt x="2" y="237"/>
                      </a:cubicBezTo>
                      <a:cubicBezTo>
                        <a:pt x="2" y="238"/>
                        <a:pt x="3" y="238"/>
                        <a:pt x="3" y="238"/>
                      </a:cubicBezTo>
                      <a:cubicBezTo>
                        <a:pt x="3" y="239"/>
                        <a:pt x="3" y="239"/>
                        <a:pt x="3" y="240"/>
                      </a:cubicBezTo>
                      <a:cubicBezTo>
                        <a:pt x="4" y="241"/>
                        <a:pt x="4" y="241"/>
                        <a:pt x="4" y="242"/>
                      </a:cubicBezTo>
                      <a:cubicBezTo>
                        <a:pt x="4" y="242"/>
                        <a:pt x="4" y="242"/>
                        <a:pt x="4" y="242"/>
                      </a:cubicBezTo>
                      <a:cubicBezTo>
                        <a:pt x="5" y="243"/>
                        <a:pt x="5" y="244"/>
                        <a:pt x="5" y="244"/>
                      </a:cubicBezTo>
                      <a:cubicBezTo>
                        <a:pt x="6" y="245"/>
                        <a:pt x="6" y="245"/>
                        <a:pt x="6" y="246"/>
                      </a:cubicBezTo>
                      <a:cubicBezTo>
                        <a:pt x="170" y="533"/>
                        <a:pt x="170" y="533"/>
                        <a:pt x="170" y="533"/>
                      </a:cubicBezTo>
                      <a:cubicBezTo>
                        <a:pt x="179" y="548"/>
                        <a:pt x="195" y="556"/>
                        <a:pt x="211" y="556"/>
                      </a:cubicBezTo>
                      <a:cubicBezTo>
                        <a:pt x="219" y="556"/>
                        <a:pt x="227" y="554"/>
                        <a:pt x="234" y="550"/>
                      </a:cubicBezTo>
                      <a:cubicBezTo>
                        <a:pt x="256" y="537"/>
                        <a:pt x="264" y="509"/>
                        <a:pt x="251" y="486"/>
                      </a:cubicBezTo>
                      <a:cubicBezTo>
                        <a:pt x="138" y="289"/>
                        <a:pt x="138" y="289"/>
                        <a:pt x="138" y="289"/>
                      </a:cubicBezTo>
                      <a:cubicBezTo>
                        <a:pt x="400" y="352"/>
                        <a:pt x="672" y="504"/>
                        <a:pt x="752" y="858"/>
                      </a:cubicBezTo>
                      <a:cubicBezTo>
                        <a:pt x="754" y="865"/>
                        <a:pt x="756" y="872"/>
                        <a:pt x="757" y="879"/>
                      </a:cubicBezTo>
                      <a:cubicBezTo>
                        <a:pt x="760" y="893"/>
                        <a:pt x="762" y="908"/>
                        <a:pt x="765" y="922"/>
                      </a:cubicBezTo>
                      <a:cubicBezTo>
                        <a:pt x="772" y="972"/>
                        <a:pt x="776" y="1026"/>
                        <a:pt x="776" y="1083"/>
                      </a:cubicBezTo>
                      <a:cubicBezTo>
                        <a:pt x="776" y="1108"/>
                        <a:pt x="795" y="1128"/>
                        <a:pt x="819" y="1130"/>
                      </a:cubicBezTo>
                      <a:cubicBezTo>
                        <a:pt x="820" y="1130"/>
                        <a:pt x="821" y="1130"/>
                        <a:pt x="823" y="1130"/>
                      </a:cubicBezTo>
                      <a:cubicBezTo>
                        <a:pt x="825" y="1130"/>
                        <a:pt x="826" y="1130"/>
                        <a:pt x="827" y="1130"/>
                      </a:cubicBezTo>
                      <a:cubicBezTo>
                        <a:pt x="851" y="1128"/>
                        <a:pt x="870" y="1108"/>
                        <a:pt x="870" y="1083"/>
                      </a:cubicBezTo>
                      <a:cubicBezTo>
                        <a:pt x="870" y="1054"/>
                        <a:pt x="869" y="1026"/>
                        <a:pt x="867" y="999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BF88C6A6-0A11-4FC6-9312-B9143F502EB2}"/>
              </a:ext>
            </a:extLst>
          </p:cNvPr>
          <p:cNvGrpSpPr/>
          <p:nvPr/>
        </p:nvGrpSpPr>
        <p:grpSpPr>
          <a:xfrm>
            <a:off x="6545280" y="1021385"/>
            <a:ext cx="1992890" cy="1324740"/>
            <a:chOff x="6545280" y="1021385"/>
            <a:chExt cx="1992890" cy="1324740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EBB4D32-229D-4A71-BE96-BE8C43BD6AA1}"/>
                </a:ext>
              </a:extLst>
            </p:cNvPr>
            <p:cNvSpPr txBox="1"/>
            <p:nvPr/>
          </p:nvSpPr>
          <p:spPr>
            <a:xfrm>
              <a:off x="6545280" y="2069126"/>
              <a:ext cx="1992890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/>
                <a:t>…</a:t>
              </a:r>
            </a:p>
          </p:txBody>
        </p:sp>
        <p:grpSp>
          <p:nvGrpSpPr>
            <p:cNvPr id="87" name="bcgIcons_ThumbsDown">
              <a:extLst>
                <a:ext uri="{FF2B5EF4-FFF2-40B4-BE49-F238E27FC236}">
                  <a16:creationId xmlns:a16="http://schemas.microsoft.com/office/drawing/2014/main" id="{44968174-3C49-4148-8839-1DC1A09390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033470" y="1021385"/>
              <a:ext cx="1016510" cy="1017452"/>
              <a:chOff x="1682" y="0"/>
              <a:chExt cx="4316" cy="4320"/>
            </a:xfrm>
          </p:grpSpPr>
          <p:sp>
            <p:nvSpPr>
              <p:cNvPr id="88" name="AutoShape 8">
                <a:extLst>
                  <a:ext uri="{FF2B5EF4-FFF2-40B4-BE49-F238E27FC236}">
                    <a16:creationId xmlns:a16="http://schemas.microsoft.com/office/drawing/2014/main" id="{D3228092-81AB-475A-9B0B-82639253252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0">
                <a:extLst>
                  <a:ext uri="{FF2B5EF4-FFF2-40B4-BE49-F238E27FC236}">
                    <a16:creationId xmlns:a16="http://schemas.microsoft.com/office/drawing/2014/main" id="{A625C0F8-993D-4CCC-BB71-4B6C0019D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703"/>
                <a:ext cx="2034" cy="2914"/>
              </a:xfrm>
              <a:custGeom>
                <a:avLst/>
                <a:gdLst>
                  <a:gd name="T0" fmla="*/ 883 w 1086"/>
                  <a:gd name="T1" fmla="*/ 1098 h 1554"/>
                  <a:gd name="T2" fmla="*/ 763 w 1086"/>
                  <a:gd name="T3" fmla="*/ 1443 h 1554"/>
                  <a:gd name="T4" fmla="*/ 700 w 1086"/>
                  <a:gd name="T5" fmla="*/ 1509 h 1554"/>
                  <a:gd name="T6" fmla="*/ 537 w 1086"/>
                  <a:gd name="T7" fmla="*/ 1300 h 1554"/>
                  <a:gd name="T8" fmla="*/ 610 w 1086"/>
                  <a:gd name="T9" fmla="*/ 987 h 1554"/>
                  <a:gd name="T10" fmla="*/ 144 w 1086"/>
                  <a:gd name="T11" fmla="*/ 976 h 1554"/>
                  <a:gd name="T12" fmla="*/ 144 w 1086"/>
                  <a:gd name="T13" fmla="*/ 776 h 1554"/>
                  <a:gd name="T14" fmla="*/ 169 w 1086"/>
                  <a:gd name="T15" fmla="*/ 777 h 1554"/>
                  <a:gd name="T16" fmla="*/ 329 w 1086"/>
                  <a:gd name="T17" fmla="*/ 755 h 1554"/>
                  <a:gd name="T18" fmla="*/ 279 w 1086"/>
                  <a:gd name="T19" fmla="*/ 733 h 1554"/>
                  <a:gd name="T20" fmla="*/ 162 w 1086"/>
                  <a:gd name="T21" fmla="*/ 732 h 1554"/>
                  <a:gd name="T22" fmla="*/ 169 w 1086"/>
                  <a:gd name="T23" fmla="*/ 533 h 1554"/>
                  <a:gd name="T24" fmla="*/ 212 w 1086"/>
                  <a:gd name="T25" fmla="*/ 532 h 1554"/>
                  <a:gd name="T26" fmla="*/ 329 w 1086"/>
                  <a:gd name="T27" fmla="*/ 533 h 1554"/>
                  <a:gd name="T28" fmla="*/ 329 w 1086"/>
                  <a:gd name="T29" fmla="*/ 489 h 1554"/>
                  <a:gd name="T30" fmla="*/ 125 w 1086"/>
                  <a:gd name="T31" fmla="*/ 389 h 1554"/>
                  <a:gd name="T32" fmla="*/ 293 w 1086"/>
                  <a:gd name="T33" fmla="*/ 288 h 1554"/>
                  <a:gd name="T34" fmla="*/ 362 w 1086"/>
                  <a:gd name="T35" fmla="*/ 288 h 1554"/>
                  <a:gd name="T36" fmla="*/ 362 w 1086"/>
                  <a:gd name="T37" fmla="*/ 244 h 1554"/>
                  <a:gd name="T38" fmla="*/ 293 w 1086"/>
                  <a:gd name="T39" fmla="*/ 244 h 1554"/>
                  <a:gd name="T40" fmla="*/ 293 w 1086"/>
                  <a:gd name="T41" fmla="*/ 44 h 1554"/>
                  <a:gd name="T42" fmla="*/ 1060 w 1086"/>
                  <a:gd name="T43" fmla="*/ 163 h 1554"/>
                  <a:gd name="T44" fmla="*/ 742 w 1086"/>
                  <a:gd name="T45" fmla="*/ 0 h 1554"/>
                  <a:gd name="T46" fmla="*/ 149 w 1086"/>
                  <a:gd name="T47" fmla="*/ 144 h 1554"/>
                  <a:gd name="T48" fmla="*/ 81 w 1086"/>
                  <a:gd name="T49" fmla="*/ 389 h 1554"/>
                  <a:gd name="T50" fmla="*/ 25 w 1086"/>
                  <a:gd name="T51" fmla="*/ 633 h 1554"/>
                  <a:gd name="T52" fmla="*/ 0 w 1086"/>
                  <a:gd name="T53" fmla="*/ 876 h 1554"/>
                  <a:gd name="T54" fmla="*/ 556 w 1086"/>
                  <a:gd name="T55" fmla="*/ 1020 h 1554"/>
                  <a:gd name="T56" fmla="*/ 493 w 1086"/>
                  <a:gd name="T57" fmla="*/ 1304 h 1554"/>
                  <a:gd name="T58" fmla="*/ 695 w 1086"/>
                  <a:gd name="T59" fmla="*/ 1553 h 1554"/>
                  <a:gd name="T60" fmla="*/ 773 w 1086"/>
                  <a:gd name="T61" fmla="*/ 1531 h 1554"/>
                  <a:gd name="T62" fmla="*/ 807 w 1086"/>
                  <a:gd name="T63" fmla="*/ 1336 h 1554"/>
                  <a:gd name="T64" fmla="*/ 905 w 1086"/>
                  <a:gd name="T65" fmla="*/ 1137 h 1554"/>
                  <a:gd name="T66" fmla="*/ 1061 w 1086"/>
                  <a:gd name="T67" fmla="*/ 998 h 1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86" h="1554">
                    <a:moveTo>
                      <a:pt x="1061" y="998"/>
                    </a:moveTo>
                    <a:cubicBezTo>
                      <a:pt x="1000" y="1033"/>
                      <a:pt x="932" y="1071"/>
                      <a:pt x="883" y="1098"/>
                    </a:cubicBezTo>
                    <a:cubicBezTo>
                      <a:pt x="760" y="1167"/>
                      <a:pt x="762" y="1325"/>
                      <a:pt x="763" y="1337"/>
                    </a:cubicBezTo>
                    <a:cubicBezTo>
                      <a:pt x="763" y="1443"/>
                      <a:pt x="763" y="1443"/>
                      <a:pt x="763" y="1443"/>
                    </a:cubicBezTo>
                    <a:cubicBezTo>
                      <a:pt x="763" y="1468"/>
                      <a:pt x="756" y="1487"/>
                      <a:pt x="744" y="1497"/>
                    </a:cubicBezTo>
                    <a:cubicBezTo>
                      <a:pt x="727" y="1513"/>
                      <a:pt x="700" y="1509"/>
                      <a:pt x="700" y="1509"/>
                    </a:cubicBezTo>
                    <a:cubicBezTo>
                      <a:pt x="699" y="1509"/>
                      <a:pt x="698" y="1509"/>
                      <a:pt x="697" y="1509"/>
                    </a:cubicBezTo>
                    <a:cubicBezTo>
                      <a:pt x="566" y="1505"/>
                      <a:pt x="539" y="1316"/>
                      <a:pt x="537" y="1300"/>
                    </a:cubicBezTo>
                    <a:cubicBezTo>
                      <a:pt x="538" y="1144"/>
                      <a:pt x="610" y="1010"/>
                      <a:pt x="610" y="1009"/>
                    </a:cubicBezTo>
                    <a:cubicBezTo>
                      <a:pt x="614" y="1002"/>
                      <a:pt x="614" y="994"/>
                      <a:pt x="610" y="987"/>
                    </a:cubicBezTo>
                    <a:cubicBezTo>
                      <a:pt x="606" y="980"/>
                      <a:pt x="599" y="976"/>
                      <a:pt x="591" y="976"/>
                    </a:cubicBezTo>
                    <a:cubicBezTo>
                      <a:pt x="144" y="976"/>
                      <a:pt x="144" y="976"/>
                      <a:pt x="144" y="976"/>
                    </a:cubicBezTo>
                    <a:cubicBezTo>
                      <a:pt x="89" y="976"/>
                      <a:pt x="44" y="931"/>
                      <a:pt x="44" y="876"/>
                    </a:cubicBezTo>
                    <a:cubicBezTo>
                      <a:pt x="44" y="821"/>
                      <a:pt x="89" y="776"/>
                      <a:pt x="144" y="776"/>
                    </a:cubicBezTo>
                    <a:cubicBezTo>
                      <a:pt x="160" y="776"/>
                      <a:pt x="160" y="776"/>
                      <a:pt x="160" y="776"/>
                    </a:cubicBezTo>
                    <a:cubicBezTo>
                      <a:pt x="163" y="776"/>
                      <a:pt x="166" y="777"/>
                      <a:pt x="169" y="777"/>
                    </a:cubicBezTo>
                    <a:cubicBezTo>
                      <a:pt x="307" y="777"/>
                      <a:pt x="307" y="777"/>
                      <a:pt x="307" y="777"/>
                    </a:cubicBezTo>
                    <a:cubicBezTo>
                      <a:pt x="319" y="777"/>
                      <a:pt x="329" y="767"/>
                      <a:pt x="329" y="755"/>
                    </a:cubicBezTo>
                    <a:cubicBezTo>
                      <a:pt x="329" y="742"/>
                      <a:pt x="319" y="733"/>
                      <a:pt x="307" y="733"/>
                    </a:cubicBezTo>
                    <a:cubicBezTo>
                      <a:pt x="279" y="733"/>
                      <a:pt x="279" y="733"/>
                      <a:pt x="279" y="733"/>
                    </a:cubicBezTo>
                    <a:cubicBezTo>
                      <a:pt x="277" y="732"/>
                      <a:pt x="276" y="732"/>
                      <a:pt x="275" y="732"/>
                    </a:cubicBezTo>
                    <a:cubicBezTo>
                      <a:pt x="162" y="732"/>
                      <a:pt x="162" y="732"/>
                      <a:pt x="162" y="732"/>
                    </a:cubicBezTo>
                    <a:cubicBezTo>
                      <a:pt x="110" y="728"/>
                      <a:pt x="69" y="685"/>
                      <a:pt x="69" y="633"/>
                    </a:cubicBezTo>
                    <a:cubicBezTo>
                      <a:pt x="69" y="577"/>
                      <a:pt x="114" y="533"/>
                      <a:pt x="169" y="533"/>
                    </a:cubicBezTo>
                    <a:cubicBezTo>
                      <a:pt x="207" y="533"/>
                      <a:pt x="207" y="533"/>
                      <a:pt x="207" y="533"/>
                    </a:cubicBezTo>
                    <a:cubicBezTo>
                      <a:pt x="209" y="533"/>
                      <a:pt x="211" y="532"/>
                      <a:pt x="212" y="532"/>
                    </a:cubicBezTo>
                    <a:cubicBezTo>
                      <a:pt x="217" y="532"/>
                      <a:pt x="221" y="533"/>
                      <a:pt x="225" y="533"/>
                    </a:cubicBezTo>
                    <a:cubicBezTo>
                      <a:pt x="329" y="533"/>
                      <a:pt x="329" y="533"/>
                      <a:pt x="329" y="533"/>
                    </a:cubicBezTo>
                    <a:cubicBezTo>
                      <a:pt x="341" y="533"/>
                      <a:pt x="351" y="523"/>
                      <a:pt x="351" y="511"/>
                    </a:cubicBezTo>
                    <a:cubicBezTo>
                      <a:pt x="351" y="498"/>
                      <a:pt x="341" y="489"/>
                      <a:pt x="329" y="489"/>
                    </a:cubicBezTo>
                    <a:cubicBezTo>
                      <a:pt x="225" y="489"/>
                      <a:pt x="225" y="489"/>
                      <a:pt x="225" y="489"/>
                    </a:cubicBezTo>
                    <a:cubicBezTo>
                      <a:pt x="170" y="489"/>
                      <a:pt x="125" y="444"/>
                      <a:pt x="125" y="389"/>
                    </a:cubicBezTo>
                    <a:cubicBezTo>
                      <a:pt x="125" y="333"/>
                      <a:pt x="170" y="288"/>
                      <a:pt x="225" y="288"/>
                    </a:cubicBezTo>
                    <a:cubicBezTo>
                      <a:pt x="293" y="288"/>
                      <a:pt x="293" y="288"/>
                      <a:pt x="293" y="288"/>
                    </a:cubicBezTo>
                    <a:cubicBezTo>
                      <a:pt x="329" y="288"/>
                      <a:pt x="329" y="288"/>
                      <a:pt x="329" y="288"/>
                    </a:cubicBezTo>
                    <a:cubicBezTo>
                      <a:pt x="362" y="288"/>
                      <a:pt x="362" y="288"/>
                      <a:pt x="362" y="288"/>
                    </a:cubicBezTo>
                    <a:cubicBezTo>
                      <a:pt x="374" y="288"/>
                      <a:pt x="384" y="279"/>
                      <a:pt x="384" y="266"/>
                    </a:cubicBezTo>
                    <a:cubicBezTo>
                      <a:pt x="384" y="254"/>
                      <a:pt x="374" y="244"/>
                      <a:pt x="362" y="244"/>
                    </a:cubicBezTo>
                    <a:cubicBezTo>
                      <a:pt x="329" y="244"/>
                      <a:pt x="329" y="244"/>
                      <a:pt x="329" y="244"/>
                    </a:cubicBezTo>
                    <a:cubicBezTo>
                      <a:pt x="293" y="244"/>
                      <a:pt x="293" y="244"/>
                      <a:pt x="293" y="244"/>
                    </a:cubicBezTo>
                    <a:cubicBezTo>
                      <a:pt x="238" y="244"/>
                      <a:pt x="193" y="200"/>
                      <a:pt x="193" y="144"/>
                    </a:cubicBezTo>
                    <a:cubicBezTo>
                      <a:pt x="193" y="89"/>
                      <a:pt x="238" y="44"/>
                      <a:pt x="293" y="44"/>
                    </a:cubicBezTo>
                    <a:cubicBezTo>
                      <a:pt x="742" y="44"/>
                      <a:pt x="742" y="44"/>
                      <a:pt x="742" y="44"/>
                    </a:cubicBezTo>
                    <a:cubicBezTo>
                      <a:pt x="785" y="44"/>
                      <a:pt x="911" y="44"/>
                      <a:pt x="1060" y="163"/>
                    </a:cubicBezTo>
                    <a:cubicBezTo>
                      <a:pt x="1060" y="108"/>
                      <a:pt x="1060" y="108"/>
                      <a:pt x="1060" y="108"/>
                    </a:cubicBezTo>
                    <a:cubicBezTo>
                      <a:pt x="960" y="36"/>
                      <a:pt x="856" y="0"/>
                      <a:pt x="742" y="0"/>
                    </a:cubicBezTo>
                    <a:cubicBezTo>
                      <a:pt x="293" y="0"/>
                      <a:pt x="293" y="0"/>
                      <a:pt x="293" y="0"/>
                    </a:cubicBezTo>
                    <a:cubicBezTo>
                      <a:pt x="214" y="0"/>
                      <a:pt x="149" y="65"/>
                      <a:pt x="149" y="144"/>
                    </a:cubicBezTo>
                    <a:cubicBezTo>
                      <a:pt x="149" y="185"/>
                      <a:pt x="166" y="222"/>
                      <a:pt x="194" y="248"/>
                    </a:cubicBezTo>
                    <a:cubicBezTo>
                      <a:pt x="129" y="263"/>
                      <a:pt x="81" y="320"/>
                      <a:pt x="81" y="389"/>
                    </a:cubicBezTo>
                    <a:cubicBezTo>
                      <a:pt x="81" y="430"/>
                      <a:pt x="99" y="468"/>
                      <a:pt x="128" y="495"/>
                    </a:cubicBezTo>
                    <a:cubicBezTo>
                      <a:pt x="69" y="512"/>
                      <a:pt x="25" y="568"/>
                      <a:pt x="25" y="633"/>
                    </a:cubicBezTo>
                    <a:cubicBezTo>
                      <a:pt x="25" y="679"/>
                      <a:pt x="47" y="720"/>
                      <a:pt x="82" y="747"/>
                    </a:cubicBezTo>
                    <a:cubicBezTo>
                      <a:pt x="34" y="770"/>
                      <a:pt x="0" y="819"/>
                      <a:pt x="0" y="876"/>
                    </a:cubicBezTo>
                    <a:cubicBezTo>
                      <a:pt x="0" y="956"/>
                      <a:pt x="65" y="1020"/>
                      <a:pt x="144" y="1020"/>
                    </a:cubicBezTo>
                    <a:cubicBezTo>
                      <a:pt x="556" y="1020"/>
                      <a:pt x="556" y="1020"/>
                      <a:pt x="556" y="1020"/>
                    </a:cubicBezTo>
                    <a:cubicBezTo>
                      <a:pt x="533" y="1072"/>
                      <a:pt x="493" y="1179"/>
                      <a:pt x="493" y="1302"/>
                    </a:cubicBezTo>
                    <a:cubicBezTo>
                      <a:pt x="493" y="1302"/>
                      <a:pt x="493" y="1303"/>
                      <a:pt x="493" y="1304"/>
                    </a:cubicBezTo>
                    <a:cubicBezTo>
                      <a:pt x="494" y="1306"/>
                      <a:pt x="500" y="1364"/>
                      <a:pt x="527" y="1423"/>
                    </a:cubicBezTo>
                    <a:cubicBezTo>
                      <a:pt x="564" y="1505"/>
                      <a:pt x="622" y="1550"/>
                      <a:pt x="695" y="1553"/>
                    </a:cubicBezTo>
                    <a:cubicBezTo>
                      <a:pt x="697" y="1553"/>
                      <a:pt x="701" y="1554"/>
                      <a:pt x="706" y="1554"/>
                    </a:cubicBezTo>
                    <a:cubicBezTo>
                      <a:pt x="722" y="1554"/>
                      <a:pt x="750" y="1550"/>
                      <a:pt x="773" y="1531"/>
                    </a:cubicBezTo>
                    <a:cubicBezTo>
                      <a:pt x="795" y="1511"/>
                      <a:pt x="807" y="1482"/>
                      <a:pt x="807" y="1443"/>
                    </a:cubicBezTo>
                    <a:cubicBezTo>
                      <a:pt x="807" y="1336"/>
                      <a:pt x="807" y="1336"/>
                      <a:pt x="807" y="1336"/>
                    </a:cubicBezTo>
                    <a:cubicBezTo>
                      <a:pt x="807" y="1336"/>
                      <a:pt x="807" y="1336"/>
                      <a:pt x="807" y="1336"/>
                    </a:cubicBezTo>
                    <a:cubicBezTo>
                      <a:pt x="807" y="1334"/>
                      <a:pt x="803" y="1193"/>
                      <a:pt x="905" y="1137"/>
                    </a:cubicBezTo>
                    <a:cubicBezTo>
                      <a:pt x="954" y="1109"/>
                      <a:pt x="1023" y="1070"/>
                      <a:pt x="1086" y="1034"/>
                    </a:cubicBezTo>
                    <a:cubicBezTo>
                      <a:pt x="1074" y="1026"/>
                      <a:pt x="1065" y="1013"/>
                      <a:pt x="1061" y="99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1">
                <a:extLst>
                  <a:ext uri="{FF2B5EF4-FFF2-40B4-BE49-F238E27FC236}">
                    <a16:creationId xmlns:a16="http://schemas.microsoft.com/office/drawing/2014/main" id="{A62B1C9F-3C2A-4B1A-9DC0-20257758F4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64" y="857"/>
                <a:ext cx="847" cy="1723"/>
              </a:xfrm>
              <a:custGeom>
                <a:avLst/>
                <a:gdLst>
                  <a:gd name="T0" fmla="*/ 430 w 452"/>
                  <a:gd name="T1" fmla="*/ 0 h 919"/>
                  <a:gd name="T2" fmla="*/ 22 w 452"/>
                  <a:gd name="T3" fmla="*/ 0 h 919"/>
                  <a:gd name="T4" fmla="*/ 0 w 452"/>
                  <a:gd name="T5" fmla="*/ 22 h 919"/>
                  <a:gd name="T6" fmla="*/ 0 w 452"/>
                  <a:gd name="T7" fmla="*/ 897 h 919"/>
                  <a:gd name="T8" fmla="*/ 22 w 452"/>
                  <a:gd name="T9" fmla="*/ 919 h 919"/>
                  <a:gd name="T10" fmla="*/ 430 w 452"/>
                  <a:gd name="T11" fmla="*/ 919 h 919"/>
                  <a:gd name="T12" fmla="*/ 452 w 452"/>
                  <a:gd name="T13" fmla="*/ 897 h 919"/>
                  <a:gd name="T14" fmla="*/ 452 w 452"/>
                  <a:gd name="T15" fmla="*/ 22 h 919"/>
                  <a:gd name="T16" fmla="*/ 430 w 452"/>
                  <a:gd name="T17" fmla="*/ 0 h 919"/>
                  <a:gd name="T18" fmla="*/ 306 w 452"/>
                  <a:gd name="T19" fmla="*/ 237 h 919"/>
                  <a:gd name="T20" fmla="*/ 215 w 452"/>
                  <a:gd name="T21" fmla="*/ 146 h 919"/>
                  <a:gd name="T22" fmla="*/ 306 w 452"/>
                  <a:gd name="T23" fmla="*/ 55 h 919"/>
                  <a:gd name="T24" fmla="*/ 397 w 452"/>
                  <a:gd name="T25" fmla="*/ 146 h 919"/>
                  <a:gd name="T26" fmla="*/ 306 w 452"/>
                  <a:gd name="T27" fmla="*/ 237 h 919"/>
                  <a:gd name="T28" fmla="*/ 353 w 452"/>
                  <a:gd name="T29" fmla="*/ 146 h 919"/>
                  <a:gd name="T30" fmla="*/ 306 w 452"/>
                  <a:gd name="T31" fmla="*/ 193 h 919"/>
                  <a:gd name="T32" fmla="*/ 259 w 452"/>
                  <a:gd name="T33" fmla="*/ 146 h 919"/>
                  <a:gd name="T34" fmla="*/ 306 w 452"/>
                  <a:gd name="T35" fmla="*/ 99 h 919"/>
                  <a:gd name="T36" fmla="*/ 353 w 452"/>
                  <a:gd name="T37" fmla="*/ 146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2" h="919">
                    <a:moveTo>
                      <a:pt x="430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897"/>
                      <a:pt x="0" y="897"/>
                      <a:pt x="0" y="897"/>
                    </a:cubicBezTo>
                    <a:cubicBezTo>
                      <a:pt x="0" y="909"/>
                      <a:pt x="10" y="919"/>
                      <a:pt x="22" y="919"/>
                    </a:cubicBezTo>
                    <a:cubicBezTo>
                      <a:pt x="430" y="919"/>
                      <a:pt x="430" y="919"/>
                      <a:pt x="430" y="919"/>
                    </a:cubicBezTo>
                    <a:cubicBezTo>
                      <a:pt x="442" y="919"/>
                      <a:pt x="452" y="909"/>
                      <a:pt x="452" y="897"/>
                    </a:cubicBezTo>
                    <a:cubicBezTo>
                      <a:pt x="452" y="22"/>
                      <a:pt x="452" y="22"/>
                      <a:pt x="452" y="22"/>
                    </a:cubicBezTo>
                    <a:cubicBezTo>
                      <a:pt x="452" y="10"/>
                      <a:pt x="442" y="0"/>
                      <a:pt x="430" y="0"/>
                    </a:cubicBezTo>
                    <a:close/>
                    <a:moveTo>
                      <a:pt x="306" y="237"/>
                    </a:moveTo>
                    <a:cubicBezTo>
                      <a:pt x="256" y="237"/>
                      <a:pt x="215" y="197"/>
                      <a:pt x="215" y="146"/>
                    </a:cubicBezTo>
                    <a:cubicBezTo>
                      <a:pt x="215" y="96"/>
                      <a:pt x="256" y="55"/>
                      <a:pt x="306" y="55"/>
                    </a:cubicBezTo>
                    <a:cubicBezTo>
                      <a:pt x="356" y="55"/>
                      <a:pt x="397" y="96"/>
                      <a:pt x="397" y="146"/>
                    </a:cubicBezTo>
                    <a:cubicBezTo>
                      <a:pt x="397" y="197"/>
                      <a:pt x="356" y="237"/>
                      <a:pt x="306" y="237"/>
                    </a:cubicBezTo>
                    <a:close/>
                    <a:moveTo>
                      <a:pt x="353" y="146"/>
                    </a:moveTo>
                    <a:cubicBezTo>
                      <a:pt x="353" y="172"/>
                      <a:pt x="332" y="193"/>
                      <a:pt x="306" y="193"/>
                    </a:cubicBezTo>
                    <a:cubicBezTo>
                      <a:pt x="280" y="193"/>
                      <a:pt x="259" y="172"/>
                      <a:pt x="259" y="146"/>
                    </a:cubicBezTo>
                    <a:cubicBezTo>
                      <a:pt x="259" y="120"/>
                      <a:pt x="280" y="99"/>
                      <a:pt x="306" y="99"/>
                    </a:cubicBezTo>
                    <a:cubicBezTo>
                      <a:pt x="332" y="99"/>
                      <a:pt x="353" y="120"/>
                      <a:pt x="353" y="14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D6F6EE25-CDA9-46DE-9CE3-8AFE53AD33DF}"/>
              </a:ext>
            </a:extLst>
          </p:cNvPr>
          <p:cNvGrpSpPr/>
          <p:nvPr/>
        </p:nvGrpSpPr>
        <p:grpSpPr>
          <a:xfrm>
            <a:off x="5060354" y="2662700"/>
            <a:ext cx="1992890" cy="1272952"/>
            <a:chOff x="5060354" y="2662700"/>
            <a:chExt cx="1992890" cy="1272952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2782DF5F-D1ED-419B-845D-D4AB1A98A30A}"/>
                </a:ext>
              </a:extLst>
            </p:cNvPr>
            <p:cNvSpPr txBox="1"/>
            <p:nvPr/>
          </p:nvSpPr>
          <p:spPr>
            <a:xfrm>
              <a:off x="5060354" y="3658653"/>
              <a:ext cx="1992890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/>
                <a:t>Detached Head</a:t>
              </a: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0D22C741-E750-43FA-8CF3-3786ABF83C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48465" y="2662700"/>
              <a:ext cx="1016668" cy="1016668"/>
              <a:chOff x="5273675" y="2606675"/>
              <a:chExt cx="1644650" cy="1644650"/>
            </a:xfrm>
          </p:grpSpPr>
          <p:sp>
            <p:nvSpPr>
              <p:cNvPr id="93" name="AutoShape 3">
                <a:extLst>
                  <a:ext uri="{FF2B5EF4-FFF2-40B4-BE49-F238E27FC236}">
                    <a16:creationId xmlns:a16="http://schemas.microsoft.com/office/drawing/2014/main" id="{6ED5A4E9-DFCE-4EBF-A727-9DF641E695C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4B4B4297-92C4-4F5E-8CB1-D8279A4BC16E}"/>
                  </a:ext>
                </a:extLst>
              </p:cNvPr>
              <p:cNvGrpSpPr/>
              <p:nvPr/>
            </p:nvGrpSpPr>
            <p:grpSpPr>
              <a:xfrm>
                <a:off x="5444599" y="3152775"/>
                <a:ext cx="1302803" cy="552451"/>
                <a:chOff x="5445125" y="3152775"/>
                <a:chExt cx="1302803" cy="552451"/>
              </a:xfrm>
            </p:grpSpPr>
            <p:sp>
              <p:nvSpPr>
                <p:cNvPr id="95" name="Freeform 6">
                  <a:extLst>
                    <a:ext uri="{FF2B5EF4-FFF2-40B4-BE49-F238E27FC236}">
                      <a16:creationId xmlns:a16="http://schemas.microsoft.com/office/drawing/2014/main" id="{2BBC4459-442B-4041-AC59-6F6B574684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58175" y="3152775"/>
                  <a:ext cx="470652" cy="550863"/>
                </a:xfrm>
                <a:custGeom>
                  <a:avLst/>
                  <a:gdLst>
                    <a:gd name="connsiteX0" fmla="*/ 153002 w 470652"/>
                    <a:gd name="connsiteY0" fmla="*/ 388952 h 550863"/>
                    <a:gd name="connsiteX1" fmla="*/ 141936 w 470652"/>
                    <a:gd name="connsiteY1" fmla="*/ 393758 h 550863"/>
                    <a:gd name="connsiteX2" fmla="*/ 141936 w 470652"/>
                    <a:gd name="connsiteY2" fmla="*/ 415117 h 550863"/>
                    <a:gd name="connsiteX3" fmla="*/ 174776 w 470652"/>
                    <a:gd name="connsiteY3" fmla="*/ 447868 h 550863"/>
                    <a:gd name="connsiteX4" fmla="*/ 141936 w 470652"/>
                    <a:gd name="connsiteY4" fmla="*/ 479194 h 550863"/>
                    <a:gd name="connsiteX5" fmla="*/ 141936 w 470652"/>
                    <a:gd name="connsiteY5" fmla="*/ 499841 h 550863"/>
                    <a:gd name="connsiteX6" fmla="*/ 153359 w 470652"/>
                    <a:gd name="connsiteY6" fmla="*/ 504825 h 550863"/>
                    <a:gd name="connsiteX7" fmla="*/ 164068 w 470652"/>
                    <a:gd name="connsiteY7" fmla="*/ 499841 h 550863"/>
                    <a:gd name="connsiteX8" fmla="*/ 196907 w 470652"/>
                    <a:gd name="connsiteY8" fmla="*/ 469227 h 550863"/>
                    <a:gd name="connsiteX9" fmla="*/ 229033 w 470652"/>
                    <a:gd name="connsiteY9" fmla="*/ 499841 h 550863"/>
                    <a:gd name="connsiteX10" fmla="*/ 239742 w 470652"/>
                    <a:gd name="connsiteY10" fmla="*/ 504825 h 550863"/>
                    <a:gd name="connsiteX11" fmla="*/ 250450 w 470652"/>
                    <a:gd name="connsiteY11" fmla="*/ 499841 h 550863"/>
                    <a:gd name="connsiteX12" fmla="*/ 250450 w 470652"/>
                    <a:gd name="connsiteY12" fmla="*/ 479194 h 550863"/>
                    <a:gd name="connsiteX13" fmla="*/ 218324 w 470652"/>
                    <a:gd name="connsiteY13" fmla="*/ 447868 h 550863"/>
                    <a:gd name="connsiteX14" fmla="*/ 250450 w 470652"/>
                    <a:gd name="connsiteY14" fmla="*/ 415117 h 550863"/>
                    <a:gd name="connsiteX15" fmla="*/ 250450 w 470652"/>
                    <a:gd name="connsiteY15" fmla="*/ 393758 h 550863"/>
                    <a:gd name="connsiteX16" fmla="*/ 229033 w 470652"/>
                    <a:gd name="connsiteY16" fmla="*/ 393758 h 550863"/>
                    <a:gd name="connsiteX17" fmla="*/ 196907 w 470652"/>
                    <a:gd name="connsiteY17" fmla="*/ 425796 h 550863"/>
                    <a:gd name="connsiteX18" fmla="*/ 164068 w 470652"/>
                    <a:gd name="connsiteY18" fmla="*/ 393758 h 550863"/>
                    <a:gd name="connsiteX19" fmla="*/ 153002 w 470652"/>
                    <a:gd name="connsiteY19" fmla="*/ 388952 h 550863"/>
                    <a:gd name="connsiteX20" fmla="*/ 196909 w 470652"/>
                    <a:gd name="connsiteY20" fmla="*/ 342900 h 550863"/>
                    <a:gd name="connsiteX21" fmla="*/ 302913 w 470652"/>
                    <a:gd name="connsiteY21" fmla="*/ 447594 h 550863"/>
                    <a:gd name="connsiteX22" fmla="*/ 196909 w 470652"/>
                    <a:gd name="connsiteY22" fmla="*/ 550863 h 550863"/>
                    <a:gd name="connsiteX23" fmla="*/ 90188 w 470652"/>
                    <a:gd name="connsiteY23" fmla="*/ 447594 h 550863"/>
                    <a:gd name="connsiteX24" fmla="*/ 196909 w 470652"/>
                    <a:gd name="connsiteY24" fmla="*/ 342900 h 550863"/>
                    <a:gd name="connsiteX25" fmla="*/ 17225 w 470652"/>
                    <a:gd name="connsiteY25" fmla="*/ 0 h 550863"/>
                    <a:gd name="connsiteX26" fmla="*/ 361980 w 470652"/>
                    <a:gd name="connsiteY26" fmla="*/ 0 h 550863"/>
                    <a:gd name="connsiteX27" fmla="*/ 377683 w 470652"/>
                    <a:gd name="connsiteY27" fmla="*/ 9278 h 550863"/>
                    <a:gd name="connsiteX28" fmla="*/ 469047 w 470652"/>
                    <a:gd name="connsiteY28" fmla="*/ 194833 h 550863"/>
                    <a:gd name="connsiteX29" fmla="*/ 469047 w 470652"/>
                    <a:gd name="connsiteY29" fmla="*/ 207679 h 550863"/>
                    <a:gd name="connsiteX30" fmla="*/ 377683 w 470652"/>
                    <a:gd name="connsiteY30" fmla="*/ 394661 h 550863"/>
                    <a:gd name="connsiteX31" fmla="*/ 361980 w 470652"/>
                    <a:gd name="connsiteY31" fmla="*/ 403225 h 550863"/>
                    <a:gd name="connsiteX32" fmla="*/ 325577 w 470652"/>
                    <a:gd name="connsiteY32" fmla="*/ 403225 h 550863"/>
                    <a:gd name="connsiteX33" fmla="*/ 197097 w 470652"/>
                    <a:gd name="connsiteY33" fmla="*/ 311161 h 550863"/>
                    <a:gd name="connsiteX34" fmla="*/ 69331 w 470652"/>
                    <a:gd name="connsiteY34" fmla="*/ 403225 h 550863"/>
                    <a:gd name="connsiteX35" fmla="*/ 17225 w 470652"/>
                    <a:gd name="connsiteY35" fmla="*/ 403225 h 550863"/>
                    <a:gd name="connsiteX36" fmla="*/ 1522 w 470652"/>
                    <a:gd name="connsiteY36" fmla="*/ 380388 h 550863"/>
                    <a:gd name="connsiteX37" fmla="*/ 87175 w 470652"/>
                    <a:gd name="connsiteY37" fmla="*/ 207679 h 550863"/>
                    <a:gd name="connsiteX38" fmla="*/ 87175 w 470652"/>
                    <a:gd name="connsiteY38" fmla="*/ 194833 h 550863"/>
                    <a:gd name="connsiteX39" fmla="*/ 1522 w 470652"/>
                    <a:gd name="connsiteY39" fmla="*/ 22838 h 550863"/>
                    <a:gd name="connsiteX40" fmla="*/ 17225 w 470652"/>
                    <a:gd name="connsiteY40" fmla="*/ 0 h 550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470652" h="550863">
                      <a:moveTo>
                        <a:pt x="153002" y="388952"/>
                      </a:moveTo>
                      <a:cubicBezTo>
                        <a:pt x="148897" y="388952"/>
                        <a:pt x="144792" y="390554"/>
                        <a:pt x="141936" y="393758"/>
                      </a:cubicBezTo>
                      <a:cubicBezTo>
                        <a:pt x="136225" y="398742"/>
                        <a:pt x="136225" y="408709"/>
                        <a:pt x="141936" y="415117"/>
                      </a:cubicBezTo>
                      <a:cubicBezTo>
                        <a:pt x="141936" y="415117"/>
                        <a:pt x="141936" y="415117"/>
                        <a:pt x="174776" y="447868"/>
                      </a:cubicBezTo>
                      <a:cubicBezTo>
                        <a:pt x="174776" y="447868"/>
                        <a:pt x="174776" y="447868"/>
                        <a:pt x="141936" y="479194"/>
                      </a:cubicBezTo>
                      <a:cubicBezTo>
                        <a:pt x="136225" y="485602"/>
                        <a:pt x="136225" y="494858"/>
                        <a:pt x="141936" y="499841"/>
                      </a:cubicBezTo>
                      <a:cubicBezTo>
                        <a:pt x="145506" y="503401"/>
                        <a:pt x="148362" y="504825"/>
                        <a:pt x="153359" y="504825"/>
                      </a:cubicBezTo>
                      <a:cubicBezTo>
                        <a:pt x="157642" y="504825"/>
                        <a:pt x="161212" y="503401"/>
                        <a:pt x="164068" y="499841"/>
                      </a:cubicBezTo>
                      <a:cubicBezTo>
                        <a:pt x="164068" y="499841"/>
                        <a:pt x="164068" y="499841"/>
                        <a:pt x="196907" y="469227"/>
                      </a:cubicBezTo>
                      <a:cubicBezTo>
                        <a:pt x="196907" y="469227"/>
                        <a:pt x="196907" y="469227"/>
                        <a:pt x="229033" y="499841"/>
                      </a:cubicBezTo>
                      <a:cubicBezTo>
                        <a:pt x="231889" y="503401"/>
                        <a:pt x="236172" y="504825"/>
                        <a:pt x="239742" y="504825"/>
                      </a:cubicBezTo>
                      <a:cubicBezTo>
                        <a:pt x="244025" y="504825"/>
                        <a:pt x="248308" y="503401"/>
                        <a:pt x="250450" y="499841"/>
                      </a:cubicBezTo>
                      <a:cubicBezTo>
                        <a:pt x="256875" y="494858"/>
                        <a:pt x="256875" y="485602"/>
                        <a:pt x="250450" y="479194"/>
                      </a:cubicBezTo>
                      <a:cubicBezTo>
                        <a:pt x="250450" y="479194"/>
                        <a:pt x="250450" y="479194"/>
                        <a:pt x="218324" y="447868"/>
                      </a:cubicBezTo>
                      <a:cubicBezTo>
                        <a:pt x="218324" y="447868"/>
                        <a:pt x="218324" y="447868"/>
                        <a:pt x="250450" y="415117"/>
                      </a:cubicBezTo>
                      <a:cubicBezTo>
                        <a:pt x="256875" y="408709"/>
                        <a:pt x="256875" y="398742"/>
                        <a:pt x="250450" y="393758"/>
                      </a:cubicBezTo>
                      <a:cubicBezTo>
                        <a:pt x="244739" y="387350"/>
                        <a:pt x="234744" y="387350"/>
                        <a:pt x="229033" y="393758"/>
                      </a:cubicBezTo>
                      <a:cubicBezTo>
                        <a:pt x="229033" y="393758"/>
                        <a:pt x="229033" y="393758"/>
                        <a:pt x="196907" y="425796"/>
                      </a:cubicBezTo>
                      <a:cubicBezTo>
                        <a:pt x="196907" y="425796"/>
                        <a:pt x="196907" y="425796"/>
                        <a:pt x="164068" y="393758"/>
                      </a:cubicBezTo>
                      <a:cubicBezTo>
                        <a:pt x="161212" y="390554"/>
                        <a:pt x="157107" y="388952"/>
                        <a:pt x="153002" y="388952"/>
                      </a:cubicBezTo>
                      <a:close/>
                      <a:moveTo>
                        <a:pt x="196909" y="342900"/>
                      </a:moveTo>
                      <a:cubicBezTo>
                        <a:pt x="254925" y="342900"/>
                        <a:pt x="302913" y="389193"/>
                        <a:pt x="302913" y="447594"/>
                      </a:cubicBezTo>
                      <a:cubicBezTo>
                        <a:pt x="302913" y="503858"/>
                        <a:pt x="254925" y="550863"/>
                        <a:pt x="196909" y="550863"/>
                      </a:cubicBezTo>
                      <a:cubicBezTo>
                        <a:pt x="137460" y="550863"/>
                        <a:pt x="90188" y="503858"/>
                        <a:pt x="90188" y="447594"/>
                      </a:cubicBezTo>
                      <a:cubicBezTo>
                        <a:pt x="90188" y="389193"/>
                        <a:pt x="137460" y="342900"/>
                        <a:pt x="196909" y="342900"/>
                      </a:cubicBezTo>
                      <a:close/>
                      <a:moveTo>
                        <a:pt x="17225" y="0"/>
                      </a:moveTo>
                      <a:cubicBezTo>
                        <a:pt x="17225" y="0"/>
                        <a:pt x="17225" y="0"/>
                        <a:pt x="361980" y="0"/>
                      </a:cubicBezTo>
                      <a:cubicBezTo>
                        <a:pt x="368404" y="0"/>
                        <a:pt x="374828" y="3568"/>
                        <a:pt x="377683" y="9278"/>
                      </a:cubicBezTo>
                      <a:cubicBezTo>
                        <a:pt x="377683" y="9278"/>
                        <a:pt x="377683" y="9278"/>
                        <a:pt x="469047" y="194833"/>
                      </a:cubicBezTo>
                      <a:cubicBezTo>
                        <a:pt x="471188" y="199115"/>
                        <a:pt x="471188" y="203397"/>
                        <a:pt x="469047" y="207679"/>
                      </a:cubicBezTo>
                      <a:cubicBezTo>
                        <a:pt x="469047" y="207679"/>
                        <a:pt x="469047" y="207679"/>
                        <a:pt x="377683" y="394661"/>
                      </a:cubicBezTo>
                      <a:cubicBezTo>
                        <a:pt x="374828" y="398943"/>
                        <a:pt x="368404" y="403225"/>
                        <a:pt x="361980" y="403225"/>
                      </a:cubicBezTo>
                      <a:cubicBezTo>
                        <a:pt x="361980" y="403225"/>
                        <a:pt x="361980" y="403225"/>
                        <a:pt x="325577" y="403225"/>
                      </a:cubicBezTo>
                      <a:cubicBezTo>
                        <a:pt x="307019" y="349700"/>
                        <a:pt x="256341" y="311161"/>
                        <a:pt x="197097" y="311161"/>
                      </a:cubicBezTo>
                      <a:cubicBezTo>
                        <a:pt x="137140" y="311161"/>
                        <a:pt x="87175" y="349700"/>
                        <a:pt x="69331" y="403225"/>
                      </a:cubicBezTo>
                      <a:cubicBezTo>
                        <a:pt x="69331" y="403225"/>
                        <a:pt x="69331" y="403225"/>
                        <a:pt x="17225" y="403225"/>
                      </a:cubicBezTo>
                      <a:cubicBezTo>
                        <a:pt x="4377" y="403225"/>
                        <a:pt x="-3475" y="391093"/>
                        <a:pt x="1522" y="380388"/>
                      </a:cubicBezTo>
                      <a:cubicBezTo>
                        <a:pt x="1522" y="380388"/>
                        <a:pt x="1522" y="380388"/>
                        <a:pt x="87175" y="207679"/>
                      </a:cubicBezTo>
                      <a:cubicBezTo>
                        <a:pt x="89317" y="203397"/>
                        <a:pt x="89317" y="199115"/>
                        <a:pt x="87175" y="194833"/>
                      </a:cubicBezTo>
                      <a:cubicBezTo>
                        <a:pt x="87175" y="194833"/>
                        <a:pt x="87175" y="194833"/>
                        <a:pt x="1522" y="22838"/>
                      </a:cubicBezTo>
                      <a:cubicBezTo>
                        <a:pt x="-3475" y="12133"/>
                        <a:pt x="4377" y="0"/>
                        <a:pt x="17225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96" name="Freeform 7">
                  <a:extLst>
                    <a:ext uri="{FF2B5EF4-FFF2-40B4-BE49-F238E27FC236}">
                      <a16:creationId xmlns:a16="http://schemas.microsoft.com/office/drawing/2014/main" id="{63609018-C6E5-44BB-A38B-03CED0F27EB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45125" y="3152775"/>
                  <a:ext cx="1302803" cy="552451"/>
                </a:xfrm>
                <a:custGeom>
                  <a:avLst/>
                  <a:gdLst>
                    <a:gd name="connsiteX0" fmla="*/ 1086933 w 1302803"/>
                    <a:gd name="connsiteY0" fmla="*/ 406063 h 552451"/>
                    <a:gd name="connsiteX1" fmla="*/ 1076251 w 1302803"/>
                    <a:gd name="connsiteY1" fmla="*/ 409816 h 552451"/>
                    <a:gd name="connsiteX2" fmla="*/ 1008596 w 1302803"/>
                    <a:gd name="connsiteY2" fmla="*/ 477732 h 552451"/>
                    <a:gd name="connsiteX3" fmla="*/ 977974 w 1302803"/>
                    <a:gd name="connsiteY3" fmla="*/ 446991 h 552451"/>
                    <a:gd name="connsiteX4" fmla="*/ 956609 w 1302803"/>
                    <a:gd name="connsiteY4" fmla="*/ 446991 h 552451"/>
                    <a:gd name="connsiteX5" fmla="*/ 956609 w 1302803"/>
                    <a:gd name="connsiteY5" fmla="*/ 468438 h 552451"/>
                    <a:gd name="connsiteX6" fmla="*/ 995778 w 1302803"/>
                    <a:gd name="connsiteY6" fmla="*/ 507758 h 552451"/>
                    <a:gd name="connsiteX7" fmla="*/ 1000763 w 1302803"/>
                    <a:gd name="connsiteY7" fmla="*/ 510617 h 552451"/>
                    <a:gd name="connsiteX8" fmla="*/ 1009309 w 1302803"/>
                    <a:gd name="connsiteY8" fmla="*/ 512762 h 552451"/>
                    <a:gd name="connsiteX9" fmla="*/ 1019279 w 1302803"/>
                    <a:gd name="connsiteY9" fmla="*/ 509188 h 552451"/>
                    <a:gd name="connsiteX10" fmla="*/ 1097615 w 1302803"/>
                    <a:gd name="connsiteY10" fmla="*/ 431263 h 552451"/>
                    <a:gd name="connsiteX11" fmla="*/ 1097615 w 1302803"/>
                    <a:gd name="connsiteY11" fmla="*/ 409816 h 552451"/>
                    <a:gd name="connsiteX12" fmla="*/ 1086933 w 1302803"/>
                    <a:gd name="connsiteY12" fmla="*/ 406063 h 552451"/>
                    <a:gd name="connsiteX13" fmla="*/ 249702 w 1302803"/>
                    <a:gd name="connsiteY13" fmla="*/ 406063 h 552451"/>
                    <a:gd name="connsiteX14" fmla="*/ 238638 w 1302803"/>
                    <a:gd name="connsiteY14" fmla="*/ 409816 h 552451"/>
                    <a:gd name="connsiteX15" fmla="*/ 171718 w 1302803"/>
                    <a:gd name="connsiteY15" fmla="*/ 477732 h 552451"/>
                    <a:gd name="connsiteX16" fmla="*/ 140776 w 1302803"/>
                    <a:gd name="connsiteY16" fmla="*/ 446991 h 552451"/>
                    <a:gd name="connsiteX17" fmla="*/ 118470 w 1302803"/>
                    <a:gd name="connsiteY17" fmla="*/ 446991 h 552451"/>
                    <a:gd name="connsiteX18" fmla="*/ 118470 w 1302803"/>
                    <a:gd name="connsiteY18" fmla="*/ 468438 h 552451"/>
                    <a:gd name="connsiteX19" fmla="*/ 158046 w 1302803"/>
                    <a:gd name="connsiteY19" fmla="*/ 507758 h 552451"/>
                    <a:gd name="connsiteX20" fmla="*/ 163803 w 1302803"/>
                    <a:gd name="connsiteY20" fmla="*/ 510617 h 552451"/>
                    <a:gd name="connsiteX21" fmla="*/ 171718 w 1302803"/>
                    <a:gd name="connsiteY21" fmla="*/ 512762 h 552451"/>
                    <a:gd name="connsiteX22" fmla="*/ 182512 w 1302803"/>
                    <a:gd name="connsiteY22" fmla="*/ 509188 h 552451"/>
                    <a:gd name="connsiteX23" fmla="*/ 260225 w 1302803"/>
                    <a:gd name="connsiteY23" fmla="*/ 431263 h 552451"/>
                    <a:gd name="connsiteX24" fmla="*/ 260225 w 1302803"/>
                    <a:gd name="connsiteY24" fmla="*/ 409816 h 552451"/>
                    <a:gd name="connsiteX25" fmla="*/ 249702 w 1302803"/>
                    <a:gd name="connsiteY25" fmla="*/ 406063 h 552451"/>
                    <a:gd name="connsiteX26" fmla="*/ 1027112 w 1302803"/>
                    <a:gd name="connsiteY26" fmla="*/ 344487 h 552451"/>
                    <a:gd name="connsiteX27" fmla="*/ 1133475 w 1302803"/>
                    <a:gd name="connsiteY27" fmla="*/ 448469 h 552451"/>
                    <a:gd name="connsiteX28" fmla="*/ 1027112 w 1302803"/>
                    <a:gd name="connsiteY28" fmla="*/ 552451 h 552451"/>
                    <a:gd name="connsiteX29" fmla="*/ 920749 w 1302803"/>
                    <a:gd name="connsiteY29" fmla="*/ 448469 h 552451"/>
                    <a:gd name="connsiteX30" fmla="*/ 1027112 w 1302803"/>
                    <a:gd name="connsiteY30" fmla="*/ 344487 h 552451"/>
                    <a:gd name="connsiteX31" fmla="*/ 192882 w 1302803"/>
                    <a:gd name="connsiteY31" fmla="*/ 344487 h 552451"/>
                    <a:gd name="connsiteX32" fmla="*/ 298451 w 1302803"/>
                    <a:gd name="connsiteY32" fmla="*/ 448469 h 552451"/>
                    <a:gd name="connsiteX33" fmla="*/ 192882 w 1302803"/>
                    <a:gd name="connsiteY33" fmla="*/ 552451 h 552451"/>
                    <a:gd name="connsiteX34" fmla="*/ 87313 w 1302803"/>
                    <a:gd name="connsiteY34" fmla="*/ 448469 h 552451"/>
                    <a:gd name="connsiteX35" fmla="*/ 192882 w 1302803"/>
                    <a:gd name="connsiteY35" fmla="*/ 344487 h 552451"/>
                    <a:gd name="connsiteX36" fmla="*/ 848631 w 1302803"/>
                    <a:gd name="connsiteY36" fmla="*/ 0 h 552451"/>
                    <a:gd name="connsiteX37" fmla="*/ 1193581 w 1302803"/>
                    <a:gd name="connsiteY37" fmla="*/ 0 h 552451"/>
                    <a:gd name="connsiteX38" fmla="*/ 1208548 w 1302803"/>
                    <a:gd name="connsiteY38" fmla="*/ 9278 h 552451"/>
                    <a:gd name="connsiteX39" fmla="*/ 1301200 w 1302803"/>
                    <a:gd name="connsiteY39" fmla="*/ 194119 h 552451"/>
                    <a:gd name="connsiteX40" fmla="*/ 1301200 w 1302803"/>
                    <a:gd name="connsiteY40" fmla="*/ 207679 h 552451"/>
                    <a:gd name="connsiteX41" fmla="*/ 1208548 w 1302803"/>
                    <a:gd name="connsiteY41" fmla="*/ 393947 h 552451"/>
                    <a:gd name="connsiteX42" fmla="*/ 1193581 w 1302803"/>
                    <a:gd name="connsiteY42" fmla="*/ 403225 h 552451"/>
                    <a:gd name="connsiteX43" fmla="*/ 1155095 w 1302803"/>
                    <a:gd name="connsiteY43" fmla="*/ 403225 h 552451"/>
                    <a:gd name="connsiteX44" fmla="*/ 1027521 w 1302803"/>
                    <a:gd name="connsiteY44" fmla="*/ 312588 h 552451"/>
                    <a:gd name="connsiteX45" fmla="*/ 899233 w 1302803"/>
                    <a:gd name="connsiteY45" fmla="*/ 403225 h 552451"/>
                    <a:gd name="connsiteX46" fmla="*/ 848631 w 1302803"/>
                    <a:gd name="connsiteY46" fmla="*/ 403225 h 552451"/>
                    <a:gd name="connsiteX47" fmla="*/ 833664 w 1302803"/>
                    <a:gd name="connsiteY47" fmla="*/ 380388 h 552451"/>
                    <a:gd name="connsiteX48" fmla="*/ 919189 w 1302803"/>
                    <a:gd name="connsiteY48" fmla="*/ 207679 h 552451"/>
                    <a:gd name="connsiteX49" fmla="*/ 919189 w 1302803"/>
                    <a:gd name="connsiteY49" fmla="*/ 194119 h 552451"/>
                    <a:gd name="connsiteX50" fmla="*/ 833664 w 1302803"/>
                    <a:gd name="connsiteY50" fmla="*/ 22837 h 552451"/>
                    <a:gd name="connsiteX51" fmla="*/ 848631 w 1302803"/>
                    <a:gd name="connsiteY51" fmla="*/ 0 h 552451"/>
                    <a:gd name="connsiteX52" fmla="*/ 15719 w 1302803"/>
                    <a:gd name="connsiteY52" fmla="*/ 0 h 552451"/>
                    <a:gd name="connsiteX53" fmla="*/ 357249 w 1302803"/>
                    <a:gd name="connsiteY53" fmla="*/ 0 h 552451"/>
                    <a:gd name="connsiteX54" fmla="*/ 371539 w 1302803"/>
                    <a:gd name="connsiteY54" fmla="*/ 9278 h 552451"/>
                    <a:gd name="connsiteX55" fmla="*/ 462995 w 1302803"/>
                    <a:gd name="connsiteY55" fmla="*/ 194119 h 552451"/>
                    <a:gd name="connsiteX56" fmla="*/ 462995 w 1302803"/>
                    <a:gd name="connsiteY56" fmla="*/ 207679 h 552451"/>
                    <a:gd name="connsiteX57" fmla="*/ 371539 w 1302803"/>
                    <a:gd name="connsiteY57" fmla="*/ 393947 h 552451"/>
                    <a:gd name="connsiteX58" fmla="*/ 357249 w 1302803"/>
                    <a:gd name="connsiteY58" fmla="*/ 403225 h 552451"/>
                    <a:gd name="connsiteX59" fmla="*/ 320095 w 1302803"/>
                    <a:gd name="connsiteY59" fmla="*/ 403225 h 552451"/>
                    <a:gd name="connsiteX60" fmla="*/ 192915 w 1302803"/>
                    <a:gd name="connsiteY60" fmla="*/ 312588 h 552451"/>
                    <a:gd name="connsiteX61" fmla="*/ 65734 w 1302803"/>
                    <a:gd name="connsiteY61" fmla="*/ 403225 h 552451"/>
                    <a:gd name="connsiteX62" fmla="*/ 15719 w 1302803"/>
                    <a:gd name="connsiteY62" fmla="*/ 403225 h 552451"/>
                    <a:gd name="connsiteX63" fmla="*/ 0 w 1302803"/>
                    <a:gd name="connsiteY63" fmla="*/ 386811 h 552451"/>
                    <a:gd name="connsiteX64" fmla="*/ 0 w 1302803"/>
                    <a:gd name="connsiteY64" fmla="*/ 16414 h 552451"/>
                    <a:gd name="connsiteX65" fmla="*/ 15719 w 1302803"/>
                    <a:gd name="connsiteY65" fmla="*/ 0 h 552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302803" h="552451">
                      <a:moveTo>
                        <a:pt x="1086933" y="406063"/>
                      </a:moveTo>
                      <a:cubicBezTo>
                        <a:pt x="1083016" y="406063"/>
                        <a:pt x="1079099" y="407314"/>
                        <a:pt x="1076251" y="409816"/>
                      </a:cubicBezTo>
                      <a:cubicBezTo>
                        <a:pt x="1076251" y="409816"/>
                        <a:pt x="1076251" y="409816"/>
                        <a:pt x="1008596" y="477732"/>
                      </a:cubicBezTo>
                      <a:cubicBezTo>
                        <a:pt x="1008596" y="477732"/>
                        <a:pt x="1008596" y="477732"/>
                        <a:pt x="977974" y="446991"/>
                      </a:cubicBezTo>
                      <a:cubicBezTo>
                        <a:pt x="972277" y="440557"/>
                        <a:pt x="963019" y="440557"/>
                        <a:pt x="956609" y="446991"/>
                      </a:cubicBezTo>
                      <a:cubicBezTo>
                        <a:pt x="950912" y="453425"/>
                        <a:pt x="950912" y="462719"/>
                        <a:pt x="956609" y="468438"/>
                      </a:cubicBezTo>
                      <a:cubicBezTo>
                        <a:pt x="956609" y="468438"/>
                        <a:pt x="956609" y="468438"/>
                        <a:pt x="995778" y="507758"/>
                      </a:cubicBezTo>
                      <a:cubicBezTo>
                        <a:pt x="997202" y="509188"/>
                        <a:pt x="999338" y="509903"/>
                        <a:pt x="1000763" y="510617"/>
                      </a:cubicBezTo>
                      <a:cubicBezTo>
                        <a:pt x="1003611" y="512047"/>
                        <a:pt x="1006460" y="512762"/>
                        <a:pt x="1009309" y="512762"/>
                      </a:cubicBezTo>
                      <a:cubicBezTo>
                        <a:pt x="1013581" y="512762"/>
                        <a:pt x="1017142" y="511332"/>
                        <a:pt x="1019279" y="509188"/>
                      </a:cubicBezTo>
                      <a:cubicBezTo>
                        <a:pt x="1019279" y="509188"/>
                        <a:pt x="1019279" y="509188"/>
                        <a:pt x="1097615" y="431263"/>
                      </a:cubicBezTo>
                      <a:cubicBezTo>
                        <a:pt x="1103312" y="426259"/>
                        <a:pt x="1103312" y="416251"/>
                        <a:pt x="1097615" y="409816"/>
                      </a:cubicBezTo>
                      <a:cubicBezTo>
                        <a:pt x="1094767" y="407314"/>
                        <a:pt x="1090850" y="406063"/>
                        <a:pt x="1086933" y="406063"/>
                      </a:cubicBezTo>
                      <a:close/>
                      <a:moveTo>
                        <a:pt x="249702" y="406063"/>
                      </a:moveTo>
                      <a:cubicBezTo>
                        <a:pt x="245834" y="406063"/>
                        <a:pt x="241876" y="407314"/>
                        <a:pt x="238638" y="409816"/>
                      </a:cubicBezTo>
                      <a:cubicBezTo>
                        <a:pt x="238638" y="409816"/>
                        <a:pt x="238638" y="409816"/>
                        <a:pt x="171718" y="477732"/>
                      </a:cubicBezTo>
                      <a:cubicBezTo>
                        <a:pt x="171718" y="477732"/>
                        <a:pt x="171718" y="477732"/>
                        <a:pt x="140776" y="446991"/>
                      </a:cubicBezTo>
                      <a:cubicBezTo>
                        <a:pt x="134300" y="440557"/>
                        <a:pt x="124226" y="440557"/>
                        <a:pt x="118470" y="446991"/>
                      </a:cubicBezTo>
                      <a:cubicBezTo>
                        <a:pt x="112713" y="453425"/>
                        <a:pt x="112713" y="462719"/>
                        <a:pt x="118470" y="468438"/>
                      </a:cubicBezTo>
                      <a:cubicBezTo>
                        <a:pt x="118470" y="468438"/>
                        <a:pt x="118470" y="468438"/>
                        <a:pt x="158046" y="507758"/>
                      </a:cubicBezTo>
                      <a:cubicBezTo>
                        <a:pt x="160205" y="509188"/>
                        <a:pt x="161644" y="509903"/>
                        <a:pt x="163803" y="510617"/>
                      </a:cubicBezTo>
                      <a:cubicBezTo>
                        <a:pt x="165961" y="512047"/>
                        <a:pt x="168840" y="512762"/>
                        <a:pt x="171718" y="512762"/>
                      </a:cubicBezTo>
                      <a:cubicBezTo>
                        <a:pt x="175316" y="512762"/>
                        <a:pt x="179633" y="511332"/>
                        <a:pt x="182512" y="509188"/>
                      </a:cubicBezTo>
                      <a:cubicBezTo>
                        <a:pt x="182512" y="509188"/>
                        <a:pt x="182512" y="509188"/>
                        <a:pt x="260225" y="431263"/>
                      </a:cubicBezTo>
                      <a:cubicBezTo>
                        <a:pt x="266701" y="426259"/>
                        <a:pt x="266701" y="416251"/>
                        <a:pt x="260225" y="409816"/>
                      </a:cubicBezTo>
                      <a:cubicBezTo>
                        <a:pt x="257347" y="407314"/>
                        <a:pt x="253569" y="406063"/>
                        <a:pt x="249702" y="406063"/>
                      </a:cubicBezTo>
                      <a:close/>
                      <a:moveTo>
                        <a:pt x="1027112" y="344487"/>
                      </a:moveTo>
                      <a:cubicBezTo>
                        <a:pt x="1085855" y="344487"/>
                        <a:pt x="1133475" y="391041"/>
                        <a:pt x="1133475" y="448469"/>
                      </a:cubicBezTo>
                      <a:cubicBezTo>
                        <a:pt x="1133475" y="505897"/>
                        <a:pt x="1085855" y="552451"/>
                        <a:pt x="1027112" y="552451"/>
                      </a:cubicBezTo>
                      <a:cubicBezTo>
                        <a:pt x="968369" y="552451"/>
                        <a:pt x="920749" y="505897"/>
                        <a:pt x="920749" y="448469"/>
                      </a:cubicBezTo>
                      <a:cubicBezTo>
                        <a:pt x="920749" y="391041"/>
                        <a:pt x="968369" y="344487"/>
                        <a:pt x="1027112" y="344487"/>
                      </a:cubicBezTo>
                      <a:close/>
                      <a:moveTo>
                        <a:pt x="192882" y="344487"/>
                      </a:moveTo>
                      <a:cubicBezTo>
                        <a:pt x="251186" y="344487"/>
                        <a:pt x="298451" y="391041"/>
                        <a:pt x="298451" y="448469"/>
                      </a:cubicBezTo>
                      <a:cubicBezTo>
                        <a:pt x="298451" y="505897"/>
                        <a:pt x="251186" y="552451"/>
                        <a:pt x="192882" y="552451"/>
                      </a:cubicBezTo>
                      <a:cubicBezTo>
                        <a:pt x="134578" y="552451"/>
                        <a:pt x="87313" y="505897"/>
                        <a:pt x="87313" y="448469"/>
                      </a:cubicBezTo>
                      <a:cubicBezTo>
                        <a:pt x="87313" y="391041"/>
                        <a:pt x="134578" y="344487"/>
                        <a:pt x="192882" y="344487"/>
                      </a:cubicBezTo>
                      <a:close/>
                      <a:moveTo>
                        <a:pt x="848631" y="0"/>
                      </a:moveTo>
                      <a:cubicBezTo>
                        <a:pt x="848631" y="0"/>
                        <a:pt x="848631" y="0"/>
                        <a:pt x="1193581" y="0"/>
                      </a:cubicBezTo>
                      <a:cubicBezTo>
                        <a:pt x="1200708" y="0"/>
                        <a:pt x="1205697" y="3568"/>
                        <a:pt x="1208548" y="9278"/>
                      </a:cubicBezTo>
                      <a:cubicBezTo>
                        <a:pt x="1208548" y="9278"/>
                        <a:pt x="1208548" y="9278"/>
                        <a:pt x="1301200" y="194119"/>
                      </a:cubicBezTo>
                      <a:cubicBezTo>
                        <a:pt x="1303338" y="198401"/>
                        <a:pt x="1303338" y="203397"/>
                        <a:pt x="1301200" y="207679"/>
                      </a:cubicBezTo>
                      <a:cubicBezTo>
                        <a:pt x="1301200" y="207679"/>
                        <a:pt x="1301200" y="207679"/>
                        <a:pt x="1208548" y="393947"/>
                      </a:cubicBezTo>
                      <a:cubicBezTo>
                        <a:pt x="1205697" y="398943"/>
                        <a:pt x="1200708" y="403225"/>
                        <a:pt x="1193581" y="403225"/>
                      </a:cubicBezTo>
                      <a:cubicBezTo>
                        <a:pt x="1193581" y="403225"/>
                        <a:pt x="1193581" y="403225"/>
                        <a:pt x="1155095" y="403225"/>
                      </a:cubicBezTo>
                      <a:cubicBezTo>
                        <a:pt x="1136565" y="350413"/>
                        <a:pt x="1085963" y="312588"/>
                        <a:pt x="1027521" y="312588"/>
                      </a:cubicBezTo>
                      <a:cubicBezTo>
                        <a:pt x="968366" y="312588"/>
                        <a:pt x="917764" y="350413"/>
                        <a:pt x="899233" y="403225"/>
                      </a:cubicBezTo>
                      <a:cubicBezTo>
                        <a:pt x="899233" y="403225"/>
                        <a:pt x="899233" y="403225"/>
                        <a:pt x="848631" y="403225"/>
                      </a:cubicBezTo>
                      <a:cubicBezTo>
                        <a:pt x="835802" y="403225"/>
                        <a:pt x="828675" y="390379"/>
                        <a:pt x="833664" y="380388"/>
                      </a:cubicBezTo>
                      <a:cubicBezTo>
                        <a:pt x="833664" y="380388"/>
                        <a:pt x="833664" y="380388"/>
                        <a:pt x="919189" y="207679"/>
                      </a:cubicBezTo>
                      <a:cubicBezTo>
                        <a:pt x="921327" y="203397"/>
                        <a:pt x="921327" y="198401"/>
                        <a:pt x="919189" y="194119"/>
                      </a:cubicBezTo>
                      <a:cubicBezTo>
                        <a:pt x="919189" y="194119"/>
                        <a:pt x="919189" y="194119"/>
                        <a:pt x="833664" y="22837"/>
                      </a:cubicBezTo>
                      <a:cubicBezTo>
                        <a:pt x="828675" y="12132"/>
                        <a:pt x="835802" y="0"/>
                        <a:pt x="848631" y="0"/>
                      </a:cubicBezTo>
                      <a:close/>
                      <a:moveTo>
                        <a:pt x="15719" y="0"/>
                      </a:moveTo>
                      <a:cubicBezTo>
                        <a:pt x="15719" y="0"/>
                        <a:pt x="15719" y="0"/>
                        <a:pt x="357249" y="0"/>
                      </a:cubicBezTo>
                      <a:cubicBezTo>
                        <a:pt x="362965" y="0"/>
                        <a:pt x="368681" y="3568"/>
                        <a:pt x="371539" y="9278"/>
                      </a:cubicBezTo>
                      <a:cubicBezTo>
                        <a:pt x="371539" y="9278"/>
                        <a:pt x="371539" y="9278"/>
                        <a:pt x="462995" y="194119"/>
                      </a:cubicBezTo>
                      <a:cubicBezTo>
                        <a:pt x="465138" y="198401"/>
                        <a:pt x="465138" y="203397"/>
                        <a:pt x="462995" y="207679"/>
                      </a:cubicBezTo>
                      <a:cubicBezTo>
                        <a:pt x="462995" y="207679"/>
                        <a:pt x="462995" y="207679"/>
                        <a:pt x="371539" y="393947"/>
                      </a:cubicBezTo>
                      <a:cubicBezTo>
                        <a:pt x="369396" y="398943"/>
                        <a:pt x="362965" y="403225"/>
                        <a:pt x="357249" y="403225"/>
                      </a:cubicBezTo>
                      <a:cubicBezTo>
                        <a:pt x="357249" y="403225"/>
                        <a:pt x="357249" y="403225"/>
                        <a:pt x="320095" y="403225"/>
                      </a:cubicBezTo>
                      <a:cubicBezTo>
                        <a:pt x="301518" y="350413"/>
                        <a:pt x="252218" y="312588"/>
                        <a:pt x="192915" y="312588"/>
                      </a:cubicBezTo>
                      <a:cubicBezTo>
                        <a:pt x="133611" y="312588"/>
                        <a:pt x="84310" y="350413"/>
                        <a:pt x="65734" y="403225"/>
                      </a:cubicBezTo>
                      <a:cubicBezTo>
                        <a:pt x="65734" y="403225"/>
                        <a:pt x="65734" y="403225"/>
                        <a:pt x="15719" y="403225"/>
                      </a:cubicBezTo>
                      <a:cubicBezTo>
                        <a:pt x="7145" y="403225"/>
                        <a:pt x="0" y="395375"/>
                        <a:pt x="0" y="386811"/>
                      </a:cubicBezTo>
                      <a:cubicBezTo>
                        <a:pt x="0" y="386811"/>
                        <a:pt x="0" y="386811"/>
                        <a:pt x="0" y="16414"/>
                      </a:cubicBezTo>
                      <a:cubicBezTo>
                        <a:pt x="0" y="7137"/>
                        <a:pt x="7145" y="0"/>
                        <a:pt x="15719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62518172-405D-4E5C-9BD3-9C3476979DCE}"/>
              </a:ext>
            </a:extLst>
          </p:cNvPr>
          <p:cNvGrpSpPr/>
          <p:nvPr/>
        </p:nvGrpSpPr>
        <p:grpSpPr>
          <a:xfrm>
            <a:off x="3575349" y="1021777"/>
            <a:ext cx="1992890" cy="1324348"/>
            <a:chOff x="3575349" y="1021777"/>
            <a:chExt cx="1992890" cy="1324348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9DFA138-8317-4A4F-90A6-C21D52A8CA2D}"/>
                </a:ext>
              </a:extLst>
            </p:cNvPr>
            <p:cNvSpPr txBox="1"/>
            <p:nvPr/>
          </p:nvSpPr>
          <p:spPr>
            <a:xfrm>
              <a:off x="3575349" y="2069126"/>
              <a:ext cx="1992890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/>
                <a:t>Branch Chaos</a:t>
              </a: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22BF041B-51BA-46BA-A477-B0351BB7205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63460" y="1021777"/>
              <a:ext cx="1016668" cy="1016668"/>
              <a:chOff x="4234656" y="2600325"/>
              <a:chExt cx="1657350" cy="1657350"/>
            </a:xfrm>
          </p:grpSpPr>
          <p:sp>
            <p:nvSpPr>
              <p:cNvPr id="98" name="AutoShape 3">
                <a:extLst>
                  <a:ext uri="{FF2B5EF4-FFF2-40B4-BE49-F238E27FC236}">
                    <a16:creationId xmlns:a16="http://schemas.microsoft.com/office/drawing/2014/main" id="{B4E7F107-57F3-4BB6-AF2E-D09747D8610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4234656" y="2600325"/>
                <a:ext cx="1657350" cy="1657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84752375-7F8F-4A41-99DE-A5BC9BC644BD}"/>
                  </a:ext>
                </a:extLst>
              </p:cNvPr>
              <p:cNvGrpSpPr/>
              <p:nvPr/>
            </p:nvGrpSpPr>
            <p:grpSpPr>
              <a:xfrm>
                <a:off x="4404519" y="2772126"/>
                <a:ext cx="1316038" cy="1315687"/>
                <a:chOff x="4404519" y="2772126"/>
                <a:chExt cx="1316038" cy="1315687"/>
              </a:xfrm>
            </p:grpSpPr>
            <p:sp>
              <p:nvSpPr>
                <p:cNvPr id="100" name="Freeform 20">
                  <a:extLst>
                    <a:ext uri="{FF2B5EF4-FFF2-40B4-BE49-F238E27FC236}">
                      <a16:creationId xmlns:a16="http://schemas.microsoft.com/office/drawing/2014/main" id="{49C9E2CD-952F-41EB-A106-67CA51A5A2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4519" y="2772126"/>
                  <a:ext cx="1316038" cy="1082324"/>
                </a:xfrm>
                <a:custGeom>
                  <a:avLst/>
                  <a:gdLst>
                    <a:gd name="connsiteX0" fmla="*/ 589643 w 1316038"/>
                    <a:gd name="connsiteY0" fmla="*/ 764824 h 1082324"/>
                    <a:gd name="connsiteX1" fmla="*/ 631400 w 1316038"/>
                    <a:gd name="connsiteY1" fmla="*/ 875697 h 1082324"/>
                    <a:gd name="connsiteX2" fmla="*/ 635000 w 1316038"/>
                    <a:gd name="connsiteY2" fmla="*/ 880737 h 1082324"/>
                    <a:gd name="connsiteX3" fmla="*/ 554365 w 1316038"/>
                    <a:gd name="connsiteY3" fmla="*/ 968571 h 1082324"/>
                    <a:gd name="connsiteX4" fmla="*/ 233986 w 1316038"/>
                    <a:gd name="connsiteY4" fmla="*/ 1082324 h 1082324"/>
                    <a:gd name="connsiteX5" fmla="*/ 47517 w 1316038"/>
                    <a:gd name="connsiteY5" fmla="*/ 1082324 h 1082324"/>
                    <a:gd name="connsiteX6" fmla="*/ 0 w 1316038"/>
                    <a:gd name="connsiteY6" fmla="*/ 1033367 h 1082324"/>
                    <a:gd name="connsiteX7" fmla="*/ 47517 w 1316038"/>
                    <a:gd name="connsiteY7" fmla="*/ 984410 h 1082324"/>
                    <a:gd name="connsiteX8" fmla="*/ 233986 w 1316038"/>
                    <a:gd name="connsiteY8" fmla="*/ 984410 h 1082324"/>
                    <a:gd name="connsiteX9" fmla="*/ 494609 w 1316038"/>
                    <a:gd name="connsiteY9" fmla="*/ 892256 h 1082324"/>
                    <a:gd name="connsiteX10" fmla="*/ 589643 w 1316038"/>
                    <a:gd name="connsiteY10" fmla="*/ 764824 h 1082324"/>
                    <a:gd name="connsiteX11" fmla="*/ 1032056 w 1316038"/>
                    <a:gd name="connsiteY11" fmla="*/ 11 h 1082324"/>
                    <a:gd name="connsiteX12" fmla="*/ 1065767 w 1316038"/>
                    <a:gd name="connsiteY12" fmla="*/ 13586 h 1082324"/>
                    <a:gd name="connsiteX13" fmla="*/ 1301655 w 1316038"/>
                    <a:gd name="connsiteY13" fmla="*/ 245172 h 1082324"/>
                    <a:gd name="connsiteX14" fmla="*/ 1301655 w 1316038"/>
                    <a:gd name="connsiteY14" fmla="*/ 245891 h 1082324"/>
                    <a:gd name="connsiteX15" fmla="*/ 1303812 w 1316038"/>
                    <a:gd name="connsiteY15" fmla="*/ 248049 h 1082324"/>
                    <a:gd name="connsiteX16" fmla="*/ 1305251 w 1316038"/>
                    <a:gd name="connsiteY16" fmla="*/ 249487 h 1082324"/>
                    <a:gd name="connsiteX17" fmla="*/ 1306689 w 1316038"/>
                    <a:gd name="connsiteY17" fmla="*/ 251645 h 1082324"/>
                    <a:gd name="connsiteX18" fmla="*/ 1307408 w 1316038"/>
                    <a:gd name="connsiteY18" fmla="*/ 253083 h 1082324"/>
                    <a:gd name="connsiteX19" fmla="*/ 1309566 w 1316038"/>
                    <a:gd name="connsiteY19" fmla="*/ 256680 h 1082324"/>
                    <a:gd name="connsiteX20" fmla="*/ 1310285 w 1316038"/>
                    <a:gd name="connsiteY20" fmla="*/ 257399 h 1082324"/>
                    <a:gd name="connsiteX21" fmla="*/ 1316038 w 1316038"/>
                    <a:gd name="connsiteY21" fmla="*/ 281133 h 1082324"/>
                    <a:gd name="connsiteX22" fmla="*/ 1310285 w 1316038"/>
                    <a:gd name="connsiteY22" fmla="*/ 304147 h 1082324"/>
                    <a:gd name="connsiteX23" fmla="*/ 1309566 w 1316038"/>
                    <a:gd name="connsiteY23" fmla="*/ 305586 h 1082324"/>
                    <a:gd name="connsiteX24" fmla="*/ 1307408 w 1316038"/>
                    <a:gd name="connsiteY24" fmla="*/ 308463 h 1082324"/>
                    <a:gd name="connsiteX25" fmla="*/ 1306689 w 1316038"/>
                    <a:gd name="connsiteY25" fmla="*/ 309901 h 1082324"/>
                    <a:gd name="connsiteX26" fmla="*/ 1305251 w 1316038"/>
                    <a:gd name="connsiteY26" fmla="*/ 312059 h 1082324"/>
                    <a:gd name="connsiteX27" fmla="*/ 1303812 w 1316038"/>
                    <a:gd name="connsiteY27" fmla="*/ 313497 h 1082324"/>
                    <a:gd name="connsiteX28" fmla="*/ 1301655 w 1316038"/>
                    <a:gd name="connsiteY28" fmla="*/ 315655 h 1082324"/>
                    <a:gd name="connsiteX29" fmla="*/ 1301655 w 1316038"/>
                    <a:gd name="connsiteY29" fmla="*/ 316374 h 1082324"/>
                    <a:gd name="connsiteX30" fmla="*/ 1065767 w 1316038"/>
                    <a:gd name="connsiteY30" fmla="*/ 547960 h 1082324"/>
                    <a:gd name="connsiteX31" fmla="*/ 1032685 w 1316038"/>
                    <a:gd name="connsiteY31" fmla="*/ 561625 h 1082324"/>
                    <a:gd name="connsiteX32" fmla="*/ 998884 w 1316038"/>
                    <a:gd name="connsiteY32" fmla="*/ 546521 h 1082324"/>
                    <a:gd name="connsiteX33" fmla="*/ 1000323 w 1316038"/>
                    <a:gd name="connsiteY33" fmla="*/ 477477 h 1082324"/>
                    <a:gd name="connsiteX34" fmla="*/ 1150629 w 1316038"/>
                    <a:gd name="connsiteY34" fmla="*/ 330039 h 1082324"/>
                    <a:gd name="connsiteX35" fmla="*/ 1067205 w 1316038"/>
                    <a:gd name="connsiteY35" fmla="*/ 330039 h 1082324"/>
                    <a:gd name="connsiteX36" fmla="*/ 852174 w 1316038"/>
                    <a:gd name="connsiteY36" fmla="*/ 391172 h 1082324"/>
                    <a:gd name="connsiteX37" fmla="*/ 722723 w 1316038"/>
                    <a:gd name="connsiteY37" fmla="*/ 547241 h 1082324"/>
                    <a:gd name="connsiteX38" fmla="*/ 673100 w 1316038"/>
                    <a:gd name="connsiteY38" fmla="*/ 432886 h 1082324"/>
                    <a:gd name="connsiteX39" fmla="*/ 801832 w 1316038"/>
                    <a:gd name="connsiteY39" fmla="*/ 307743 h 1082324"/>
                    <a:gd name="connsiteX40" fmla="*/ 1067205 w 1316038"/>
                    <a:gd name="connsiteY40" fmla="*/ 232226 h 1082324"/>
                    <a:gd name="connsiteX41" fmla="*/ 1150629 w 1316038"/>
                    <a:gd name="connsiteY41" fmla="*/ 232226 h 1082324"/>
                    <a:gd name="connsiteX42" fmla="*/ 1000323 w 1316038"/>
                    <a:gd name="connsiteY42" fmla="*/ 84069 h 1082324"/>
                    <a:gd name="connsiteX43" fmla="*/ 998884 w 1316038"/>
                    <a:gd name="connsiteY43" fmla="*/ 15025 h 1082324"/>
                    <a:gd name="connsiteX44" fmla="*/ 1032056 w 1316038"/>
                    <a:gd name="connsiteY44" fmla="*/ 11 h 10823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316038" h="1082324">
                      <a:moveTo>
                        <a:pt x="589643" y="764824"/>
                      </a:moveTo>
                      <a:cubicBezTo>
                        <a:pt x="598283" y="803702"/>
                        <a:pt x="611962" y="841139"/>
                        <a:pt x="631400" y="875697"/>
                      </a:cubicBezTo>
                      <a:cubicBezTo>
                        <a:pt x="632840" y="877137"/>
                        <a:pt x="633560" y="879297"/>
                        <a:pt x="635000" y="880737"/>
                      </a:cubicBezTo>
                      <a:cubicBezTo>
                        <a:pt x="612682" y="913135"/>
                        <a:pt x="586043" y="941933"/>
                        <a:pt x="554365" y="968571"/>
                      </a:cubicBezTo>
                      <a:cubicBezTo>
                        <a:pt x="465811" y="1042007"/>
                        <a:pt x="352058" y="1082324"/>
                        <a:pt x="233986" y="1082324"/>
                      </a:cubicBezTo>
                      <a:cubicBezTo>
                        <a:pt x="233986" y="1082324"/>
                        <a:pt x="233986" y="1082324"/>
                        <a:pt x="47517" y="1082324"/>
                      </a:cubicBezTo>
                      <a:cubicBezTo>
                        <a:pt x="21599" y="1082324"/>
                        <a:pt x="0" y="1060726"/>
                        <a:pt x="0" y="1033367"/>
                      </a:cubicBezTo>
                      <a:cubicBezTo>
                        <a:pt x="0" y="1006729"/>
                        <a:pt x="21599" y="984410"/>
                        <a:pt x="47517" y="984410"/>
                      </a:cubicBezTo>
                      <a:cubicBezTo>
                        <a:pt x="47517" y="984410"/>
                        <a:pt x="47517" y="984410"/>
                        <a:pt x="233986" y="984410"/>
                      </a:cubicBezTo>
                      <a:cubicBezTo>
                        <a:pt x="330459" y="984410"/>
                        <a:pt x="423334" y="952012"/>
                        <a:pt x="494609" y="892256"/>
                      </a:cubicBezTo>
                      <a:cubicBezTo>
                        <a:pt x="539246" y="855538"/>
                        <a:pt x="570924" y="813061"/>
                        <a:pt x="589643" y="764824"/>
                      </a:cubicBezTo>
                      <a:close/>
                      <a:moveTo>
                        <a:pt x="1032056" y="11"/>
                      </a:moveTo>
                      <a:cubicBezTo>
                        <a:pt x="1044192" y="-258"/>
                        <a:pt x="1056418" y="4237"/>
                        <a:pt x="1065767" y="13586"/>
                      </a:cubicBezTo>
                      <a:cubicBezTo>
                        <a:pt x="1065767" y="13586"/>
                        <a:pt x="1065767" y="13586"/>
                        <a:pt x="1301655" y="245172"/>
                      </a:cubicBezTo>
                      <a:cubicBezTo>
                        <a:pt x="1301655" y="245891"/>
                        <a:pt x="1301655" y="245891"/>
                        <a:pt x="1301655" y="245891"/>
                      </a:cubicBezTo>
                      <a:cubicBezTo>
                        <a:pt x="1302374" y="246611"/>
                        <a:pt x="1303093" y="247330"/>
                        <a:pt x="1303812" y="248049"/>
                      </a:cubicBezTo>
                      <a:cubicBezTo>
                        <a:pt x="1303812" y="248768"/>
                        <a:pt x="1304531" y="248768"/>
                        <a:pt x="1305251" y="249487"/>
                      </a:cubicBezTo>
                      <a:cubicBezTo>
                        <a:pt x="1305251" y="250207"/>
                        <a:pt x="1305970" y="250926"/>
                        <a:pt x="1306689" y="251645"/>
                      </a:cubicBezTo>
                      <a:cubicBezTo>
                        <a:pt x="1306689" y="252364"/>
                        <a:pt x="1307408" y="253083"/>
                        <a:pt x="1307408" y="253083"/>
                      </a:cubicBezTo>
                      <a:cubicBezTo>
                        <a:pt x="1308127" y="254522"/>
                        <a:pt x="1308847" y="255241"/>
                        <a:pt x="1309566" y="256680"/>
                      </a:cubicBezTo>
                      <a:cubicBezTo>
                        <a:pt x="1309566" y="256680"/>
                        <a:pt x="1310285" y="256680"/>
                        <a:pt x="1310285" y="257399"/>
                      </a:cubicBezTo>
                      <a:cubicBezTo>
                        <a:pt x="1313881" y="264591"/>
                        <a:pt x="1316038" y="272502"/>
                        <a:pt x="1316038" y="281133"/>
                      </a:cubicBezTo>
                      <a:cubicBezTo>
                        <a:pt x="1316038" y="289763"/>
                        <a:pt x="1313881" y="297675"/>
                        <a:pt x="1310285" y="304147"/>
                      </a:cubicBezTo>
                      <a:cubicBezTo>
                        <a:pt x="1310285" y="304867"/>
                        <a:pt x="1309566" y="304867"/>
                        <a:pt x="1309566" y="305586"/>
                      </a:cubicBezTo>
                      <a:cubicBezTo>
                        <a:pt x="1308847" y="306305"/>
                        <a:pt x="1308127" y="307743"/>
                        <a:pt x="1307408" y="308463"/>
                      </a:cubicBezTo>
                      <a:cubicBezTo>
                        <a:pt x="1307408" y="309182"/>
                        <a:pt x="1306689" y="309182"/>
                        <a:pt x="1306689" y="309901"/>
                      </a:cubicBezTo>
                      <a:cubicBezTo>
                        <a:pt x="1305970" y="310620"/>
                        <a:pt x="1305251" y="311340"/>
                        <a:pt x="1305251" y="312059"/>
                      </a:cubicBezTo>
                      <a:cubicBezTo>
                        <a:pt x="1304531" y="312778"/>
                        <a:pt x="1303812" y="313497"/>
                        <a:pt x="1303812" y="313497"/>
                      </a:cubicBezTo>
                      <a:cubicBezTo>
                        <a:pt x="1303093" y="314216"/>
                        <a:pt x="1302374" y="314936"/>
                        <a:pt x="1301655" y="315655"/>
                      </a:cubicBezTo>
                      <a:cubicBezTo>
                        <a:pt x="1301655" y="315655"/>
                        <a:pt x="1301655" y="316374"/>
                        <a:pt x="1301655" y="316374"/>
                      </a:cubicBezTo>
                      <a:cubicBezTo>
                        <a:pt x="1301655" y="316374"/>
                        <a:pt x="1301655" y="316374"/>
                        <a:pt x="1065767" y="547960"/>
                      </a:cubicBezTo>
                      <a:cubicBezTo>
                        <a:pt x="1056418" y="557310"/>
                        <a:pt x="1044911" y="561625"/>
                        <a:pt x="1032685" y="561625"/>
                      </a:cubicBezTo>
                      <a:cubicBezTo>
                        <a:pt x="1020459" y="561625"/>
                        <a:pt x="1008233" y="556590"/>
                        <a:pt x="998884" y="546521"/>
                      </a:cubicBezTo>
                      <a:cubicBezTo>
                        <a:pt x="980905" y="527103"/>
                        <a:pt x="981624" y="496177"/>
                        <a:pt x="1000323" y="477477"/>
                      </a:cubicBezTo>
                      <a:cubicBezTo>
                        <a:pt x="1000323" y="477477"/>
                        <a:pt x="1000323" y="477477"/>
                        <a:pt x="1150629" y="330039"/>
                      </a:cubicBezTo>
                      <a:cubicBezTo>
                        <a:pt x="1150629" y="330039"/>
                        <a:pt x="1150629" y="330039"/>
                        <a:pt x="1067205" y="330039"/>
                      </a:cubicBezTo>
                      <a:cubicBezTo>
                        <a:pt x="989535" y="330039"/>
                        <a:pt x="914741" y="350896"/>
                        <a:pt x="852174" y="391172"/>
                      </a:cubicBezTo>
                      <a:cubicBezTo>
                        <a:pt x="787448" y="432167"/>
                        <a:pt x="744298" y="483950"/>
                        <a:pt x="722723" y="547241"/>
                      </a:cubicBezTo>
                      <a:cubicBezTo>
                        <a:pt x="711935" y="506246"/>
                        <a:pt x="695395" y="468127"/>
                        <a:pt x="673100" y="432886"/>
                      </a:cubicBezTo>
                      <a:cubicBezTo>
                        <a:pt x="704744" y="384699"/>
                        <a:pt x="747894" y="342266"/>
                        <a:pt x="801832" y="307743"/>
                      </a:cubicBezTo>
                      <a:cubicBezTo>
                        <a:pt x="880221" y="258118"/>
                        <a:pt x="971556" y="232226"/>
                        <a:pt x="1067205" y="232226"/>
                      </a:cubicBezTo>
                      <a:cubicBezTo>
                        <a:pt x="1067205" y="232226"/>
                        <a:pt x="1067205" y="232226"/>
                        <a:pt x="1150629" y="232226"/>
                      </a:cubicBezTo>
                      <a:cubicBezTo>
                        <a:pt x="1150629" y="232226"/>
                        <a:pt x="1150629" y="232226"/>
                        <a:pt x="1000323" y="84069"/>
                      </a:cubicBezTo>
                      <a:cubicBezTo>
                        <a:pt x="981624" y="65370"/>
                        <a:pt x="980905" y="34443"/>
                        <a:pt x="998884" y="15025"/>
                      </a:cubicBezTo>
                      <a:cubicBezTo>
                        <a:pt x="1007874" y="5316"/>
                        <a:pt x="1019920" y="281"/>
                        <a:pt x="1032056" y="1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101" name="Freeform 7">
                  <a:extLst>
                    <a:ext uri="{FF2B5EF4-FFF2-40B4-BE49-F238E27FC236}">
                      <a16:creationId xmlns:a16="http://schemas.microsoft.com/office/drawing/2014/main" id="{9241AFC3-C033-4C12-ADAF-45717995B0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4519" y="3005138"/>
                  <a:ext cx="1316038" cy="1082675"/>
                </a:xfrm>
                <a:custGeom>
                  <a:avLst/>
                  <a:gdLst>
                    <a:gd name="T0" fmla="*/ 1820 w 1828"/>
                    <a:gd name="T1" fmla="*/ 1082 h 1505"/>
                    <a:gd name="T2" fmla="*/ 1819 w 1828"/>
                    <a:gd name="T3" fmla="*/ 1080 h 1505"/>
                    <a:gd name="T4" fmla="*/ 1816 w 1828"/>
                    <a:gd name="T5" fmla="*/ 1076 h 1505"/>
                    <a:gd name="T6" fmla="*/ 1815 w 1828"/>
                    <a:gd name="T7" fmla="*/ 1074 h 1505"/>
                    <a:gd name="T8" fmla="*/ 1813 w 1828"/>
                    <a:gd name="T9" fmla="*/ 1071 h 1505"/>
                    <a:gd name="T10" fmla="*/ 1811 w 1828"/>
                    <a:gd name="T11" fmla="*/ 1069 h 1505"/>
                    <a:gd name="T12" fmla="*/ 1808 w 1828"/>
                    <a:gd name="T13" fmla="*/ 1066 h 1505"/>
                    <a:gd name="T14" fmla="*/ 1808 w 1828"/>
                    <a:gd name="T15" fmla="*/ 1065 h 1505"/>
                    <a:gd name="T16" fmla="*/ 1480 w 1828"/>
                    <a:gd name="T17" fmla="*/ 743 h 1505"/>
                    <a:gd name="T18" fmla="*/ 1434 w 1828"/>
                    <a:gd name="T19" fmla="*/ 724 h 1505"/>
                    <a:gd name="T20" fmla="*/ 1387 w 1828"/>
                    <a:gd name="T21" fmla="*/ 745 h 1505"/>
                    <a:gd name="T22" fmla="*/ 1389 w 1828"/>
                    <a:gd name="T23" fmla="*/ 841 h 1505"/>
                    <a:gd name="T24" fmla="*/ 1598 w 1828"/>
                    <a:gd name="T25" fmla="*/ 1046 h 1505"/>
                    <a:gd name="T26" fmla="*/ 1482 w 1828"/>
                    <a:gd name="T27" fmla="*/ 1046 h 1505"/>
                    <a:gd name="T28" fmla="*/ 1183 w 1828"/>
                    <a:gd name="T29" fmla="*/ 961 h 1505"/>
                    <a:gd name="T30" fmla="*/ 980 w 1828"/>
                    <a:gd name="T31" fmla="*/ 602 h 1505"/>
                    <a:gd name="T32" fmla="*/ 980 w 1828"/>
                    <a:gd name="T33" fmla="*/ 591 h 1505"/>
                    <a:gd name="T34" fmla="*/ 908 w 1828"/>
                    <a:gd name="T35" fmla="*/ 322 h 1505"/>
                    <a:gd name="T36" fmla="*/ 770 w 1828"/>
                    <a:gd name="T37" fmla="*/ 158 h 1505"/>
                    <a:gd name="T38" fmla="*/ 325 w 1828"/>
                    <a:gd name="T39" fmla="*/ 0 h 1505"/>
                    <a:gd name="T40" fmla="*/ 66 w 1828"/>
                    <a:gd name="T41" fmla="*/ 0 h 1505"/>
                    <a:gd name="T42" fmla="*/ 0 w 1828"/>
                    <a:gd name="T43" fmla="*/ 68 h 1505"/>
                    <a:gd name="T44" fmla="*/ 66 w 1828"/>
                    <a:gd name="T45" fmla="*/ 136 h 1505"/>
                    <a:gd name="T46" fmla="*/ 325 w 1828"/>
                    <a:gd name="T47" fmla="*/ 136 h 1505"/>
                    <a:gd name="T48" fmla="*/ 687 w 1828"/>
                    <a:gd name="T49" fmla="*/ 264 h 1505"/>
                    <a:gd name="T50" fmla="*/ 848 w 1828"/>
                    <a:gd name="T51" fmla="*/ 591 h 1505"/>
                    <a:gd name="T52" fmla="*/ 848 w 1828"/>
                    <a:gd name="T53" fmla="*/ 602 h 1505"/>
                    <a:gd name="T54" fmla="*/ 908 w 1828"/>
                    <a:gd name="T55" fmla="*/ 860 h 1505"/>
                    <a:gd name="T56" fmla="*/ 1113 w 1828"/>
                    <a:gd name="T57" fmla="*/ 1077 h 1505"/>
                    <a:gd name="T58" fmla="*/ 1482 w 1828"/>
                    <a:gd name="T59" fmla="*/ 1182 h 1505"/>
                    <a:gd name="T60" fmla="*/ 1598 w 1828"/>
                    <a:gd name="T61" fmla="*/ 1182 h 1505"/>
                    <a:gd name="T62" fmla="*/ 1389 w 1828"/>
                    <a:gd name="T63" fmla="*/ 1388 h 1505"/>
                    <a:gd name="T64" fmla="*/ 1387 w 1828"/>
                    <a:gd name="T65" fmla="*/ 1484 h 1505"/>
                    <a:gd name="T66" fmla="*/ 1434 w 1828"/>
                    <a:gd name="T67" fmla="*/ 1505 h 1505"/>
                    <a:gd name="T68" fmla="*/ 1480 w 1828"/>
                    <a:gd name="T69" fmla="*/ 1486 h 1505"/>
                    <a:gd name="T70" fmla="*/ 1808 w 1828"/>
                    <a:gd name="T71" fmla="*/ 1164 h 1505"/>
                    <a:gd name="T72" fmla="*/ 1808 w 1828"/>
                    <a:gd name="T73" fmla="*/ 1163 h 1505"/>
                    <a:gd name="T74" fmla="*/ 1811 w 1828"/>
                    <a:gd name="T75" fmla="*/ 1160 h 1505"/>
                    <a:gd name="T76" fmla="*/ 1813 w 1828"/>
                    <a:gd name="T77" fmla="*/ 1158 h 1505"/>
                    <a:gd name="T78" fmla="*/ 1815 w 1828"/>
                    <a:gd name="T79" fmla="*/ 1155 h 1505"/>
                    <a:gd name="T80" fmla="*/ 1816 w 1828"/>
                    <a:gd name="T81" fmla="*/ 1153 h 1505"/>
                    <a:gd name="T82" fmla="*/ 1819 w 1828"/>
                    <a:gd name="T83" fmla="*/ 1148 h 1505"/>
                    <a:gd name="T84" fmla="*/ 1820 w 1828"/>
                    <a:gd name="T85" fmla="*/ 1147 h 1505"/>
                    <a:gd name="T86" fmla="*/ 1828 w 1828"/>
                    <a:gd name="T87" fmla="*/ 1114 h 1505"/>
                    <a:gd name="T88" fmla="*/ 1820 w 1828"/>
                    <a:gd name="T89" fmla="*/ 1082 h 15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828" h="1505">
                      <a:moveTo>
                        <a:pt x="1820" y="1082"/>
                      </a:moveTo>
                      <a:cubicBezTo>
                        <a:pt x="1820" y="1081"/>
                        <a:pt x="1819" y="1081"/>
                        <a:pt x="1819" y="1080"/>
                      </a:cubicBezTo>
                      <a:cubicBezTo>
                        <a:pt x="1818" y="1079"/>
                        <a:pt x="1817" y="1077"/>
                        <a:pt x="1816" y="1076"/>
                      </a:cubicBezTo>
                      <a:cubicBezTo>
                        <a:pt x="1816" y="1075"/>
                        <a:pt x="1815" y="1075"/>
                        <a:pt x="1815" y="1074"/>
                      </a:cubicBezTo>
                      <a:cubicBezTo>
                        <a:pt x="1814" y="1073"/>
                        <a:pt x="1813" y="1072"/>
                        <a:pt x="1813" y="1071"/>
                      </a:cubicBezTo>
                      <a:cubicBezTo>
                        <a:pt x="1812" y="1070"/>
                        <a:pt x="1811" y="1069"/>
                        <a:pt x="1811" y="1069"/>
                      </a:cubicBezTo>
                      <a:cubicBezTo>
                        <a:pt x="1810" y="1068"/>
                        <a:pt x="1809" y="1067"/>
                        <a:pt x="1808" y="1066"/>
                      </a:cubicBezTo>
                      <a:cubicBezTo>
                        <a:pt x="1808" y="1066"/>
                        <a:pt x="1808" y="1065"/>
                        <a:pt x="1808" y="1065"/>
                      </a:cubicBezTo>
                      <a:cubicBezTo>
                        <a:pt x="1480" y="743"/>
                        <a:pt x="1480" y="743"/>
                        <a:pt x="1480" y="743"/>
                      </a:cubicBezTo>
                      <a:cubicBezTo>
                        <a:pt x="1467" y="730"/>
                        <a:pt x="1451" y="724"/>
                        <a:pt x="1434" y="724"/>
                      </a:cubicBezTo>
                      <a:cubicBezTo>
                        <a:pt x="1417" y="724"/>
                        <a:pt x="1400" y="731"/>
                        <a:pt x="1387" y="745"/>
                      </a:cubicBezTo>
                      <a:cubicBezTo>
                        <a:pt x="1362" y="772"/>
                        <a:pt x="1363" y="815"/>
                        <a:pt x="1389" y="841"/>
                      </a:cubicBezTo>
                      <a:cubicBezTo>
                        <a:pt x="1598" y="1046"/>
                        <a:pt x="1598" y="1046"/>
                        <a:pt x="1598" y="1046"/>
                      </a:cubicBezTo>
                      <a:cubicBezTo>
                        <a:pt x="1482" y="1046"/>
                        <a:pt x="1482" y="1046"/>
                        <a:pt x="1482" y="1046"/>
                      </a:cubicBezTo>
                      <a:cubicBezTo>
                        <a:pt x="1374" y="1046"/>
                        <a:pt x="1270" y="1017"/>
                        <a:pt x="1183" y="961"/>
                      </a:cubicBezTo>
                      <a:cubicBezTo>
                        <a:pt x="1048" y="876"/>
                        <a:pt x="980" y="755"/>
                        <a:pt x="980" y="602"/>
                      </a:cubicBezTo>
                      <a:cubicBezTo>
                        <a:pt x="980" y="598"/>
                        <a:pt x="980" y="595"/>
                        <a:pt x="980" y="591"/>
                      </a:cubicBezTo>
                      <a:cubicBezTo>
                        <a:pt x="978" y="493"/>
                        <a:pt x="954" y="403"/>
                        <a:pt x="908" y="322"/>
                      </a:cubicBezTo>
                      <a:cubicBezTo>
                        <a:pt x="874" y="261"/>
                        <a:pt x="828" y="206"/>
                        <a:pt x="770" y="158"/>
                      </a:cubicBezTo>
                      <a:cubicBezTo>
                        <a:pt x="647" y="56"/>
                        <a:pt x="489" y="0"/>
                        <a:pt x="325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0" y="0"/>
                        <a:pt x="0" y="30"/>
                        <a:pt x="0" y="68"/>
                      </a:cubicBezTo>
                      <a:cubicBezTo>
                        <a:pt x="0" y="105"/>
                        <a:pt x="30" y="136"/>
                        <a:pt x="66" y="136"/>
                      </a:cubicBezTo>
                      <a:cubicBezTo>
                        <a:pt x="325" y="136"/>
                        <a:pt x="325" y="136"/>
                        <a:pt x="325" y="136"/>
                      </a:cubicBezTo>
                      <a:cubicBezTo>
                        <a:pt x="459" y="136"/>
                        <a:pt x="588" y="181"/>
                        <a:pt x="687" y="264"/>
                      </a:cubicBezTo>
                      <a:cubicBezTo>
                        <a:pt x="791" y="350"/>
                        <a:pt x="845" y="460"/>
                        <a:pt x="848" y="591"/>
                      </a:cubicBezTo>
                      <a:cubicBezTo>
                        <a:pt x="848" y="595"/>
                        <a:pt x="848" y="598"/>
                        <a:pt x="848" y="602"/>
                      </a:cubicBezTo>
                      <a:cubicBezTo>
                        <a:pt x="848" y="697"/>
                        <a:pt x="869" y="783"/>
                        <a:pt x="908" y="860"/>
                      </a:cubicBezTo>
                      <a:cubicBezTo>
                        <a:pt x="953" y="945"/>
                        <a:pt x="1022" y="1019"/>
                        <a:pt x="1113" y="1077"/>
                      </a:cubicBezTo>
                      <a:cubicBezTo>
                        <a:pt x="1222" y="1146"/>
                        <a:pt x="1349" y="1182"/>
                        <a:pt x="1482" y="1182"/>
                      </a:cubicBezTo>
                      <a:cubicBezTo>
                        <a:pt x="1598" y="1182"/>
                        <a:pt x="1598" y="1182"/>
                        <a:pt x="1598" y="1182"/>
                      </a:cubicBezTo>
                      <a:cubicBezTo>
                        <a:pt x="1389" y="1388"/>
                        <a:pt x="1389" y="1388"/>
                        <a:pt x="1389" y="1388"/>
                      </a:cubicBezTo>
                      <a:cubicBezTo>
                        <a:pt x="1363" y="1414"/>
                        <a:pt x="1362" y="1457"/>
                        <a:pt x="1387" y="1484"/>
                      </a:cubicBezTo>
                      <a:cubicBezTo>
                        <a:pt x="1400" y="1498"/>
                        <a:pt x="1417" y="1505"/>
                        <a:pt x="1434" y="1505"/>
                      </a:cubicBezTo>
                      <a:cubicBezTo>
                        <a:pt x="1451" y="1505"/>
                        <a:pt x="1467" y="1499"/>
                        <a:pt x="1480" y="1486"/>
                      </a:cubicBezTo>
                      <a:cubicBezTo>
                        <a:pt x="1808" y="1164"/>
                        <a:pt x="1808" y="1164"/>
                        <a:pt x="1808" y="1164"/>
                      </a:cubicBezTo>
                      <a:cubicBezTo>
                        <a:pt x="1808" y="1163"/>
                        <a:pt x="1808" y="1163"/>
                        <a:pt x="1808" y="1163"/>
                      </a:cubicBezTo>
                      <a:cubicBezTo>
                        <a:pt x="1809" y="1162"/>
                        <a:pt x="1810" y="1161"/>
                        <a:pt x="1811" y="1160"/>
                      </a:cubicBezTo>
                      <a:cubicBezTo>
                        <a:pt x="1811" y="1159"/>
                        <a:pt x="1812" y="1159"/>
                        <a:pt x="1813" y="1158"/>
                      </a:cubicBezTo>
                      <a:cubicBezTo>
                        <a:pt x="1813" y="1157"/>
                        <a:pt x="1814" y="1156"/>
                        <a:pt x="1815" y="1155"/>
                      </a:cubicBezTo>
                      <a:cubicBezTo>
                        <a:pt x="1815" y="1154"/>
                        <a:pt x="1816" y="1153"/>
                        <a:pt x="1816" y="1153"/>
                      </a:cubicBezTo>
                      <a:cubicBezTo>
                        <a:pt x="1817" y="1151"/>
                        <a:pt x="1818" y="1150"/>
                        <a:pt x="1819" y="1148"/>
                      </a:cubicBezTo>
                      <a:cubicBezTo>
                        <a:pt x="1819" y="1148"/>
                        <a:pt x="1820" y="1148"/>
                        <a:pt x="1820" y="1147"/>
                      </a:cubicBezTo>
                      <a:cubicBezTo>
                        <a:pt x="1825" y="1137"/>
                        <a:pt x="1828" y="1126"/>
                        <a:pt x="1828" y="1114"/>
                      </a:cubicBezTo>
                      <a:cubicBezTo>
                        <a:pt x="1828" y="1102"/>
                        <a:pt x="1825" y="1091"/>
                        <a:pt x="1820" y="1082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105" name="NavigationTriangle">
            <a:extLst>
              <a:ext uri="{FF2B5EF4-FFF2-40B4-BE49-F238E27FC236}">
                <a16:creationId xmlns:a16="http://schemas.microsoft.com/office/drawing/2014/main" id="{E8D9A63A-707A-4F23-AFB6-CB8D2A7B4A50}"/>
              </a:ext>
            </a:extLst>
          </p:cNvPr>
          <p:cNvSpPr/>
          <p:nvPr/>
        </p:nvSpPr>
        <p:spPr>
          <a:xfrm rot="16200000">
            <a:off x="8080517" y="-37923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EB68E2A-D6A3-4C57-A708-D98FC432DD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98692" y="53517"/>
            <a:ext cx="455613" cy="457200"/>
            <a:chOff x="5120" y="1668"/>
            <a:chExt cx="287" cy="288"/>
          </a:xfrm>
        </p:grpSpPr>
        <p:sp>
          <p:nvSpPr>
            <p:cNvPr id="110" name="AutoShape 49">
              <a:extLst>
                <a:ext uri="{FF2B5EF4-FFF2-40B4-BE49-F238E27FC236}">
                  <a16:creationId xmlns:a16="http://schemas.microsoft.com/office/drawing/2014/main" id="{238F42E9-F314-4CB8-AB50-39B04F1604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0" y="1668"/>
              <a:ext cx="28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51">
              <a:extLst>
                <a:ext uri="{FF2B5EF4-FFF2-40B4-BE49-F238E27FC236}">
                  <a16:creationId xmlns:a16="http://schemas.microsoft.com/office/drawing/2014/main" id="{06315903-6956-4C10-8E03-310B97622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6" y="1720"/>
              <a:ext cx="255" cy="184"/>
            </a:xfrm>
            <a:custGeom>
              <a:avLst/>
              <a:gdLst>
                <a:gd name="T0" fmla="*/ 816 w 903"/>
                <a:gd name="T1" fmla="*/ 525 h 649"/>
                <a:gd name="T2" fmla="*/ 839 w 903"/>
                <a:gd name="T3" fmla="*/ 22 h 649"/>
                <a:gd name="T4" fmla="*/ 86 w 903"/>
                <a:gd name="T5" fmla="*/ 0 h 649"/>
                <a:gd name="T6" fmla="*/ 64 w 903"/>
                <a:gd name="T7" fmla="*/ 502 h 649"/>
                <a:gd name="T8" fmla="*/ 116 w 903"/>
                <a:gd name="T9" fmla="*/ 70 h 649"/>
                <a:gd name="T10" fmla="*/ 776 w 903"/>
                <a:gd name="T11" fmla="*/ 59 h 649"/>
                <a:gd name="T12" fmla="*/ 787 w 903"/>
                <a:gd name="T13" fmla="*/ 455 h 649"/>
                <a:gd name="T14" fmla="*/ 127 w 903"/>
                <a:gd name="T15" fmla="*/ 465 h 649"/>
                <a:gd name="T16" fmla="*/ 116 w 903"/>
                <a:gd name="T17" fmla="*/ 70 h 649"/>
                <a:gd name="T18" fmla="*/ 879 w 903"/>
                <a:gd name="T19" fmla="*/ 550 h 649"/>
                <a:gd name="T20" fmla="*/ 549 w 903"/>
                <a:gd name="T21" fmla="*/ 565 h 649"/>
                <a:gd name="T22" fmla="*/ 332 w 903"/>
                <a:gd name="T23" fmla="*/ 550 h 649"/>
                <a:gd name="T24" fmla="*/ 6 w 903"/>
                <a:gd name="T25" fmla="*/ 559 h 649"/>
                <a:gd name="T26" fmla="*/ 18 w 903"/>
                <a:gd name="T27" fmla="*/ 632 h 649"/>
                <a:gd name="T28" fmla="*/ 863 w 903"/>
                <a:gd name="T29" fmla="*/ 649 h 649"/>
                <a:gd name="T30" fmla="*/ 901 w 903"/>
                <a:gd name="T31" fmla="*/ 580 h 649"/>
                <a:gd name="T32" fmla="*/ 538 w 903"/>
                <a:gd name="T33" fmla="*/ 205 h 649"/>
                <a:gd name="T34" fmla="*/ 499 w 903"/>
                <a:gd name="T35" fmla="*/ 381 h 649"/>
                <a:gd name="T36" fmla="*/ 511 w 903"/>
                <a:gd name="T37" fmla="*/ 408 h 649"/>
                <a:gd name="T38" fmla="*/ 638 w 903"/>
                <a:gd name="T39" fmla="*/ 286 h 649"/>
                <a:gd name="T40" fmla="*/ 644 w 903"/>
                <a:gd name="T41" fmla="*/ 274 h 649"/>
                <a:gd name="T42" fmla="*/ 638 w 903"/>
                <a:gd name="T43" fmla="*/ 261 h 649"/>
                <a:gd name="T44" fmla="*/ 549 w 903"/>
                <a:gd name="T45" fmla="*/ 178 h 649"/>
                <a:gd name="T46" fmla="*/ 538 w 903"/>
                <a:gd name="T47" fmla="*/ 205 h 649"/>
                <a:gd name="T48" fmla="*/ 264 w 903"/>
                <a:gd name="T49" fmla="*/ 286 h 649"/>
                <a:gd name="T50" fmla="*/ 343 w 903"/>
                <a:gd name="T51" fmla="*/ 366 h 649"/>
                <a:gd name="T52" fmla="*/ 365 w 903"/>
                <a:gd name="T53" fmla="*/ 365 h 649"/>
                <a:gd name="T54" fmla="*/ 365 w 903"/>
                <a:gd name="T55" fmla="*/ 343 h 649"/>
                <a:gd name="T56" fmla="*/ 403 w 903"/>
                <a:gd name="T57" fmla="*/ 167 h 649"/>
                <a:gd name="T58" fmla="*/ 403 w 903"/>
                <a:gd name="T59" fmla="*/ 144 h 649"/>
                <a:gd name="T60" fmla="*/ 264 w 903"/>
                <a:gd name="T61" fmla="*/ 262 h 649"/>
                <a:gd name="T62" fmla="*/ 263 w 903"/>
                <a:gd name="T63" fmla="*/ 263 h 649"/>
                <a:gd name="T64" fmla="*/ 263 w 903"/>
                <a:gd name="T65" fmla="*/ 285 h 649"/>
                <a:gd name="T66" fmla="*/ 375 w 903"/>
                <a:gd name="T67" fmla="*/ 418 h 649"/>
                <a:gd name="T68" fmla="*/ 382 w 903"/>
                <a:gd name="T69" fmla="*/ 419 h 649"/>
                <a:gd name="T70" fmla="*/ 543 w 903"/>
                <a:gd name="T71" fmla="*/ 128 h 649"/>
                <a:gd name="T72" fmla="*/ 536 w 903"/>
                <a:gd name="T73" fmla="*/ 107 h 649"/>
                <a:gd name="T74" fmla="*/ 368 w 903"/>
                <a:gd name="T75" fmla="*/ 39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649">
                  <a:moveTo>
                    <a:pt x="86" y="525"/>
                  </a:moveTo>
                  <a:cubicBezTo>
                    <a:pt x="816" y="525"/>
                    <a:pt x="816" y="525"/>
                    <a:pt x="816" y="525"/>
                  </a:cubicBezTo>
                  <a:cubicBezTo>
                    <a:pt x="829" y="525"/>
                    <a:pt x="839" y="515"/>
                    <a:pt x="839" y="502"/>
                  </a:cubicBezTo>
                  <a:cubicBezTo>
                    <a:pt x="839" y="22"/>
                    <a:pt x="839" y="22"/>
                    <a:pt x="839" y="22"/>
                  </a:cubicBezTo>
                  <a:cubicBezTo>
                    <a:pt x="839" y="10"/>
                    <a:pt x="829" y="0"/>
                    <a:pt x="81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64" y="10"/>
                    <a:pt x="64" y="22"/>
                  </a:cubicBezTo>
                  <a:cubicBezTo>
                    <a:pt x="64" y="502"/>
                    <a:pt x="64" y="502"/>
                    <a:pt x="64" y="502"/>
                  </a:cubicBezTo>
                  <a:cubicBezTo>
                    <a:pt x="64" y="515"/>
                    <a:pt x="74" y="525"/>
                    <a:pt x="86" y="525"/>
                  </a:cubicBezTo>
                  <a:close/>
                  <a:moveTo>
                    <a:pt x="116" y="70"/>
                  </a:moveTo>
                  <a:cubicBezTo>
                    <a:pt x="116" y="64"/>
                    <a:pt x="120" y="59"/>
                    <a:pt x="127" y="59"/>
                  </a:cubicBezTo>
                  <a:cubicBezTo>
                    <a:pt x="776" y="59"/>
                    <a:pt x="776" y="59"/>
                    <a:pt x="776" y="59"/>
                  </a:cubicBezTo>
                  <a:cubicBezTo>
                    <a:pt x="782" y="59"/>
                    <a:pt x="787" y="64"/>
                    <a:pt x="787" y="70"/>
                  </a:cubicBezTo>
                  <a:cubicBezTo>
                    <a:pt x="787" y="455"/>
                    <a:pt x="787" y="455"/>
                    <a:pt x="787" y="455"/>
                  </a:cubicBezTo>
                  <a:cubicBezTo>
                    <a:pt x="787" y="461"/>
                    <a:pt x="782" y="465"/>
                    <a:pt x="776" y="465"/>
                  </a:cubicBezTo>
                  <a:cubicBezTo>
                    <a:pt x="127" y="465"/>
                    <a:pt x="127" y="465"/>
                    <a:pt x="127" y="465"/>
                  </a:cubicBezTo>
                  <a:cubicBezTo>
                    <a:pt x="120" y="465"/>
                    <a:pt x="116" y="461"/>
                    <a:pt x="116" y="455"/>
                  </a:cubicBezTo>
                  <a:cubicBezTo>
                    <a:pt x="116" y="70"/>
                    <a:pt x="116" y="70"/>
                    <a:pt x="116" y="70"/>
                  </a:cubicBezTo>
                  <a:close/>
                  <a:moveTo>
                    <a:pt x="897" y="559"/>
                  </a:moveTo>
                  <a:cubicBezTo>
                    <a:pt x="893" y="554"/>
                    <a:pt x="887" y="550"/>
                    <a:pt x="879" y="550"/>
                  </a:cubicBezTo>
                  <a:cubicBezTo>
                    <a:pt x="879" y="550"/>
                    <a:pt x="879" y="550"/>
                    <a:pt x="571" y="550"/>
                  </a:cubicBezTo>
                  <a:cubicBezTo>
                    <a:pt x="562" y="550"/>
                    <a:pt x="552" y="557"/>
                    <a:pt x="549" y="565"/>
                  </a:cubicBezTo>
                  <a:cubicBezTo>
                    <a:pt x="549" y="565"/>
                    <a:pt x="549" y="565"/>
                    <a:pt x="353" y="565"/>
                  </a:cubicBezTo>
                  <a:cubicBezTo>
                    <a:pt x="350" y="557"/>
                    <a:pt x="341" y="550"/>
                    <a:pt x="332" y="550"/>
                  </a:cubicBezTo>
                  <a:cubicBezTo>
                    <a:pt x="332" y="550"/>
                    <a:pt x="332" y="550"/>
                    <a:pt x="23" y="550"/>
                  </a:cubicBezTo>
                  <a:cubicBezTo>
                    <a:pt x="16" y="550"/>
                    <a:pt x="10" y="554"/>
                    <a:pt x="6" y="559"/>
                  </a:cubicBezTo>
                  <a:cubicBezTo>
                    <a:pt x="1" y="565"/>
                    <a:pt x="0" y="573"/>
                    <a:pt x="2" y="580"/>
                  </a:cubicBezTo>
                  <a:cubicBezTo>
                    <a:pt x="2" y="580"/>
                    <a:pt x="2" y="580"/>
                    <a:pt x="18" y="632"/>
                  </a:cubicBezTo>
                  <a:cubicBezTo>
                    <a:pt x="21" y="642"/>
                    <a:pt x="31" y="649"/>
                    <a:pt x="40" y="649"/>
                  </a:cubicBezTo>
                  <a:cubicBezTo>
                    <a:pt x="40" y="649"/>
                    <a:pt x="40" y="649"/>
                    <a:pt x="863" y="649"/>
                  </a:cubicBezTo>
                  <a:cubicBezTo>
                    <a:pt x="872" y="649"/>
                    <a:pt x="881" y="642"/>
                    <a:pt x="884" y="632"/>
                  </a:cubicBezTo>
                  <a:cubicBezTo>
                    <a:pt x="884" y="632"/>
                    <a:pt x="884" y="632"/>
                    <a:pt x="901" y="580"/>
                  </a:cubicBezTo>
                  <a:cubicBezTo>
                    <a:pt x="903" y="573"/>
                    <a:pt x="902" y="565"/>
                    <a:pt x="897" y="559"/>
                  </a:cubicBezTo>
                  <a:close/>
                  <a:moveTo>
                    <a:pt x="538" y="205"/>
                  </a:moveTo>
                  <a:cubicBezTo>
                    <a:pt x="606" y="274"/>
                    <a:pt x="606" y="274"/>
                    <a:pt x="606" y="274"/>
                  </a:cubicBezTo>
                  <a:cubicBezTo>
                    <a:pt x="499" y="381"/>
                    <a:pt x="499" y="381"/>
                    <a:pt x="499" y="381"/>
                  </a:cubicBezTo>
                  <a:cubicBezTo>
                    <a:pt x="493" y="387"/>
                    <a:pt x="494" y="397"/>
                    <a:pt x="499" y="403"/>
                  </a:cubicBezTo>
                  <a:cubicBezTo>
                    <a:pt x="502" y="406"/>
                    <a:pt x="507" y="408"/>
                    <a:pt x="511" y="408"/>
                  </a:cubicBezTo>
                  <a:cubicBezTo>
                    <a:pt x="514" y="408"/>
                    <a:pt x="518" y="406"/>
                    <a:pt x="521" y="403"/>
                  </a:cubicBezTo>
                  <a:cubicBezTo>
                    <a:pt x="638" y="286"/>
                    <a:pt x="638" y="286"/>
                    <a:pt x="638" y="286"/>
                  </a:cubicBezTo>
                  <a:cubicBezTo>
                    <a:pt x="638" y="286"/>
                    <a:pt x="639" y="285"/>
                    <a:pt x="639" y="285"/>
                  </a:cubicBezTo>
                  <a:cubicBezTo>
                    <a:pt x="643" y="282"/>
                    <a:pt x="644" y="278"/>
                    <a:pt x="644" y="274"/>
                  </a:cubicBezTo>
                  <a:cubicBezTo>
                    <a:pt x="644" y="269"/>
                    <a:pt x="643" y="266"/>
                    <a:pt x="640" y="263"/>
                  </a:cubicBezTo>
                  <a:cubicBezTo>
                    <a:pt x="639" y="262"/>
                    <a:pt x="639" y="262"/>
                    <a:pt x="638" y="261"/>
                  </a:cubicBezTo>
                  <a:cubicBezTo>
                    <a:pt x="560" y="183"/>
                    <a:pt x="560" y="183"/>
                    <a:pt x="560" y="183"/>
                  </a:cubicBezTo>
                  <a:cubicBezTo>
                    <a:pt x="557" y="180"/>
                    <a:pt x="553" y="178"/>
                    <a:pt x="549" y="178"/>
                  </a:cubicBezTo>
                  <a:cubicBezTo>
                    <a:pt x="545" y="178"/>
                    <a:pt x="541" y="180"/>
                    <a:pt x="538" y="183"/>
                  </a:cubicBezTo>
                  <a:cubicBezTo>
                    <a:pt x="532" y="189"/>
                    <a:pt x="532" y="198"/>
                    <a:pt x="538" y="205"/>
                  </a:cubicBezTo>
                  <a:close/>
                  <a:moveTo>
                    <a:pt x="263" y="285"/>
                  </a:moveTo>
                  <a:cubicBezTo>
                    <a:pt x="264" y="286"/>
                    <a:pt x="264" y="286"/>
                    <a:pt x="264" y="286"/>
                  </a:cubicBezTo>
                  <a:cubicBezTo>
                    <a:pt x="343" y="365"/>
                    <a:pt x="343" y="365"/>
                    <a:pt x="343" y="365"/>
                  </a:cubicBezTo>
                  <a:cubicBezTo>
                    <a:pt x="343" y="365"/>
                    <a:pt x="343" y="365"/>
                    <a:pt x="343" y="366"/>
                  </a:cubicBezTo>
                  <a:cubicBezTo>
                    <a:pt x="346" y="368"/>
                    <a:pt x="350" y="369"/>
                    <a:pt x="354" y="369"/>
                  </a:cubicBezTo>
                  <a:cubicBezTo>
                    <a:pt x="358" y="369"/>
                    <a:pt x="362" y="368"/>
                    <a:pt x="365" y="365"/>
                  </a:cubicBezTo>
                  <a:cubicBezTo>
                    <a:pt x="368" y="362"/>
                    <a:pt x="370" y="358"/>
                    <a:pt x="369" y="353"/>
                  </a:cubicBezTo>
                  <a:cubicBezTo>
                    <a:pt x="369" y="349"/>
                    <a:pt x="368" y="345"/>
                    <a:pt x="365" y="343"/>
                  </a:cubicBezTo>
                  <a:cubicBezTo>
                    <a:pt x="296" y="274"/>
                    <a:pt x="296" y="274"/>
                    <a:pt x="296" y="274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406" y="164"/>
                    <a:pt x="408" y="160"/>
                    <a:pt x="408" y="156"/>
                  </a:cubicBezTo>
                  <a:cubicBezTo>
                    <a:pt x="408" y="152"/>
                    <a:pt x="406" y="147"/>
                    <a:pt x="403" y="144"/>
                  </a:cubicBezTo>
                  <a:cubicBezTo>
                    <a:pt x="397" y="139"/>
                    <a:pt x="387" y="138"/>
                    <a:pt x="381" y="144"/>
                  </a:cubicBezTo>
                  <a:cubicBezTo>
                    <a:pt x="264" y="262"/>
                    <a:pt x="264" y="262"/>
                    <a:pt x="264" y="262"/>
                  </a:cubicBezTo>
                  <a:cubicBezTo>
                    <a:pt x="264" y="262"/>
                    <a:pt x="264" y="262"/>
                    <a:pt x="263" y="262"/>
                  </a:cubicBezTo>
                  <a:cubicBezTo>
                    <a:pt x="263" y="263"/>
                    <a:pt x="263" y="263"/>
                    <a:pt x="263" y="263"/>
                  </a:cubicBezTo>
                  <a:cubicBezTo>
                    <a:pt x="260" y="266"/>
                    <a:pt x="259" y="270"/>
                    <a:pt x="259" y="274"/>
                  </a:cubicBezTo>
                  <a:cubicBezTo>
                    <a:pt x="259" y="278"/>
                    <a:pt x="260" y="282"/>
                    <a:pt x="263" y="285"/>
                  </a:cubicBezTo>
                  <a:cubicBezTo>
                    <a:pt x="263" y="285"/>
                    <a:pt x="263" y="285"/>
                    <a:pt x="263" y="285"/>
                  </a:cubicBezTo>
                  <a:close/>
                  <a:moveTo>
                    <a:pt x="375" y="418"/>
                  </a:moveTo>
                  <a:cubicBezTo>
                    <a:pt x="375" y="418"/>
                    <a:pt x="375" y="418"/>
                    <a:pt x="376" y="418"/>
                  </a:cubicBezTo>
                  <a:cubicBezTo>
                    <a:pt x="377" y="419"/>
                    <a:pt x="379" y="419"/>
                    <a:pt x="382" y="419"/>
                  </a:cubicBezTo>
                  <a:cubicBezTo>
                    <a:pt x="388" y="419"/>
                    <a:pt x="393" y="416"/>
                    <a:pt x="396" y="411"/>
                  </a:cubicBezTo>
                  <a:cubicBezTo>
                    <a:pt x="543" y="128"/>
                    <a:pt x="543" y="128"/>
                    <a:pt x="543" y="128"/>
                  </a:cubicBezTo>
                  <a:cubicBezTo>
                    <a:pt x="547" y="121"/>
                    <a:pt x="545" y="111"/>
                    <a:pt x="537" y="107"/>
                  </a:cubicBezTo>
                  <a:cubicBezTo>
                    <a:pt x="537" y="107"/>
                    <a:pt x="536" y="107"/>
                    <a:pt x="536" y="107"/>
                  </a:cubicBezTo>
                  <a:cubicBezTo>
                    <a:pt x="529" y="103"/>
                    <a:pt x="520" y="106"/>
                    <a:pt x="515" y="114"/>
                  </a:cubicBezTo>
                  <a:cubicBezTo>
                    <a:pt x="368" y="397"/>
                    <a:pt x="368" y="397"/>
                    <a:pt x="368" y="397"/>
                  </a:cubicBezTo>
                  <a:cubicBezTo>
                    <a:pt x="364" y="405"/>
                    <a:pt x="367" y="414"/>
                    <a:pt x="375" y="4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9841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1611916"/>
          </a:xfrm>
        </p:spPr>
        <p:txBody>
          <a:bodyPr/>
          <a:lstStyle/>
          <a:p>
            <a:r>
              <a:rPr lang="de-DE">
                <a:ea typeface="+mj-lt"/>
                <a:cs typeface="+mj-lt"/>
              </a:rPr>
              <a:t>Best Practice - Commits, Branching, Merging</a:t>
            </a:r>
            <a:endParaRPr lang="de-DE"/>
          </a:p>
          <a:p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NavigationTriangle">
            <a:extLst>
              <a:ext uri="{FF2B5EF4-FFF2-40B4-BE49-F238E27FC236}">
                <a16:creationId xmlns:a16="http://schemas.microsoft.com/office/drawing/2014/main" id="{D4E7C605-86EF-4345-BB57-B5162ECC26BB}"/>
              </a:ext>
            </a:extLst>
          </p:cNvPr>
          <p:cNvSpPr/>
          <p:nvPr/>
        </p:nvSpPr>
        <p:spPr>
          <a:xfrm rot="16200000">
            <a:off x="8080517" y="-37923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BF3E58C-14DA-4FA0-84BC-E686D30061D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98692" y="53517"/>
            <a:ext cx="455613" cy="457200"/>
            <a:chOff x="5120" y="1668"/>
            <a:chExt cx="287" cy="288"/>
          </a:xfrm>
        </p:grpSpPr>
        <p:sp>
          <p:nvSpPr>
            <p:cNvPr id="15" name="AutoShape 49">
              <a:extLst>
                <a:ext uri="{FF2B5EF4-FFF2-40B4-BE49-F238E27FC236}">
                  <a16:creationId xmlns:a16="http://schemas.microsoft.com/office/drawing/2014/main" id="{97C9C750-C61C-4A80-8D70-C987D24AFC8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0" y="1668"/>
              <a:ext cx="28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1">
              <a:extLst>
                <a:ext uri="{FF2B5EF4-FFF2-40B4-BE49-F238E27FC236}">
                  <a16:creationId xmlns:a16="http://schemas.microsoft.com/office/drawing/2014/main" id="{604E7E55-D40D-4427-BF98-D4027D8A8E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6" y="1720"/>
              <a:ext cx="255" cy="184"/>
            </a:xfrm>
            <a:custGeom>
              <a:avLst/>
              <a:gdLst>
                <a:gd name="T0" fmla="*/ 816 w 903"/>
                <a:gd name="T1" fmla="*/ 525 h 649"/>
                <a:gd name="T2" fmla="*/ 839 w 903"/>
                <a:gd name="T3" fmla="*/ 22 h 649"/>
                <a:gd name="T4" fmla="*/ 86 w 903"/>
                <a:gd name="T5" fmla="*/ 0 h 649"/>
                <a:gd name="T6" fmla="*/ 64 w 903"/>
                <a:gd name="T7" fmla="*/ 502 h 649"/>
                <a:gd name="T8" fmla="*/ 116 w 903"/>
                <a:gd name="T9" fmla="*/ 70 h 649"/>
                <a:gd name="T10" fmla="*/ 776 w 903"/>
                <a:gd name="T11" fmla="*/ 59 h 649"/>
                <a:gd name="T12" fmla="*/ 787 w 903"/>
                <a:gd name="T13" fmla="*/ 455 h 649"/>
                <a:gd name="T14" fmla="*/ 127 w 903"/>
                <a:gd name="T15" fmla="*/ 465 h 649"/>
                <a:gd name="T16" fmla="*/ 116 w 903"/>
                <a:gd name="T17" fmla="*/ 70 h 649"/>
                <a:gd name="T18" fmla="*/ 879 w 903"/>
                <a:gd name="T19" fmla="*/ 550 h 649"/>
                <a:gd name="T20" fmla="*/ 549 w 903"/>
                <a:gd name="T21" fmla="*/ 565 h 649"/>
                <a:gd name="T22" fmla="*/ 332 w 903"/>
                <a:gd name="T23" fmla="*/ 550 h 649"/>
                <a:gd name="T24" fmla="*/ 6 w 903"/>
                <a:gd name="T25" fmla="*/ 559 h 649"/>
                <a:gd name="T26" fmla="*/ 18 w 903"/>
                <a:gd name="T27" fmla="*/ 632 h 649"/>
                <a:gd name="T28" fmla="*/ 863 w 903"/>
                <a:gd name="T29" fmla="*/ 649 h 649"/>
                <a:gd name="T30" fmla="*/ 901 w 903"/>
                <a:gd name="T31" fmla="*/ 580 h 649"/>
                <a:gd name="T32" fmla="*/ 538 w 903"/>
                <a:gd name="T33" fmla="*/ 205 h 649"/>
                <a:gd name="T34" fmla="*/ 499 w 903"/>
                <a:gd name="T35" fmla="*/ 381 h 649"/>
                <a:gd name="T36" fmla="*/ 511 w 903"/>
                <a:gd name="T37" fmla="*/ 408 h 649"/>
                <a:gd name="T38" fmla="*/ 638 w 903"/>
                <a:gd name="T39" fmla="*/ 286 h 649"/>
                <a:gd name="T40" fmla="*/ 644 w 903"/>
                <a:gd name="T41" fmla="*/ 274 h 649"/>
                <a:gd name="T42" fmla="*/ 638 w 903"/>
                <a:gd name="T43" fmla="*/ 261 h 649"/>
                <a:gd name="T44" fmla="*/ 549 w 903"/>
                <a:gd name="T45" fmla="*/ 178 h 649"/>
                <a:gd name="T46" fmla="*/ 538 w 903"/>
                <a:gd name="T47" fmla="*/ 205 h 649"/>
                <a:gd name="T48" fmla="*/ 264 w 903"/>
                <a:gd name="T49" fmla="*/ 286 h 649"/>
                <a:gd name="T50" fmla="*/ 343 w 903"/>
                <a:gd name="T51" fmla="*/ 366 h 649"/>
                <a:gd name="T52" fmla="*/ 365 w 903"/>
                <a:gd name="T53" fmla="*/ 365 h 649"/>
                <a:gd name="T54" fmla="*/ 365 w 903"/>
                <a:gd name="T55" fmla="*/ 343 h 649"/>
                <a:gd name="T56" fmla="*/ 403 w 903"/>
                <a:gd name="T57" fmla="*/ 167 h 649"/>
                <a:gd name="T58" fmla="*/ 403 w 903"/>
                <a:gd name="T59" fmla="*/ 144 h 649"/>
                <a:gd name="T60" fmla="*/ 264 w 903"/>
                <a:gd name="T61" fmla="*/ 262 h 649"/>
                <a:gd name="T62" fmla="*/ 263 w 903"/>
                <a:gd name="T63" fmla="*/ 263 h 649"/>
                <a:gd name="T64" fmla="*/ 263 w 903"/>
                <a:gd name="T65" fmla="*/ 285 h 649"/>
                <a:gd name="T66" fmla="*/ 375 w 903"/>
                <a:gd name="T67" fmla="*/ 418 h 649"/>
                <a:gd name="T68" fmla="*/ 382 w 903"/>
                <a:gd name="T69" fmla="*/ 419 h 649"/>
                <a:gd name="T70" fmla="*/ 543 w 903"/>
                <a:gd name="T71" fmla="*/ 128 h 649"/>
                <a:gd name="T72" fmla="*/ 536 w 903"/>
                <a:gd name="T73" fmla="*/ 107 h 649"/>
                <a:gd name="T74" fmla="*/ 368 w 903"/>
                <a:gd name="T75" fmla="*/ 39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649">
                  <a:moveTo>
                    <a:pt x="86" y="525"/>
                  </a:moveTo>
                  <a:cubicBezTo>
                    <a:pt x="816" y="525"/>
                    <a:pt x="816" y="525"/>
                    <a:pt x="816" y="525"/>
                  </a:cubicBezTo>
                  <a:cubicBezTo>
                    <a:pt x="829" y="525"/>
                    <a:pt x="839" y="515"/>
                    <a:pt x="839" y="502"/>
                  </a:cubicBezTo>
                  <a:cubicBezTo>
                    <a:pt x="839" y="22"/>
                    <a:pt x="839" y="22"/>
                    <a:pt x="839" y="22"/>
                  </a:cubicBezTo>
                  <a:cubicBezTo>
                    <a:pt x="839" y="10"/>
                    <a:pt x="829" y="0"/>
                    <a:pt x="81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64" y="10"/>
                    <a:pt x="64" y="22"/>
                  </a:cubicBezTo>
                  <a:cubicBezTo>
                    <a:pt x="64" y="502"/>
                    <a:pt x="64" y="502"/>
                    <a:pt x="64" y="502"/>
                  </a:cubicBezTo>
                  <a:cubicBezTo>
                    <a:pt x="64" y="515"/>
                    <a:pt x="74" y="525"/>
                    <a:pt x="86" y="525"/>
                  </a:cubicBezTo>
                  <a:close/>
                  <a:moveTo>
                    <a:pt x="116" y="70"/>
                  </a:moveTo>
                  <a:cubicBezTo>
                    <a:pt x="116" y="64"/>
                    <a:pt x="120" y="59"/>
                    <a:pt x="127" y="59"/>
                  </a:cubicBezTo>
                  <a:cubicBezTo>
                    <a:pt x="776" y="59"/>
                    <a:pt x="776" y="59"/>
                    <a:pt x="776" y="59"/>
                  </a:cubicBezTo>
                  <a:cubicBezTo>
                    <a:pt x="782" y="59"/>
                    <a:pt x="787" y="64"/>
                    <a:pt x="787" y="70"/>
                  </a:cubicBezTo>
                  <a:cubicBezTo>
                    <a:pt x="787" y="455"/>
                    <a:pt x="787" y="455"/>
                    <a:pt x="787" y="455"/>
                  </a:cubicBezTo>
                  <a:cubicBezTo>
                    <a:pt x="787" y="461"/>
                    <a:pt x="782" y="465"/>
                    <a:pt x="776" y="465"/>
                  </a:cubicBezTo>
                  <a:cubicBezTo>
                    <a:pt x="127" y="465"/>
                    <a:pt x="127" y="465"/>
                    <a:pt x="127" y="465"/>
                  </a:cubicBezTo>
                  <a:cubicBezTo>
                    <a:pt x="120" y="465"/>
                    <a:pt x="116" y="461"/>
                    <a:pt x="116" y="455"/>
                  </a:cubicBezTo>
                  <a:cubicBezTo>
                    <a:pt x="116" y="70"/>
                    <a:pt x="116" y="70"/>
                    <a:pt x="116" y="70"/>
                  </a:cubicBezTo>
                  <a:close/>
                  <a:moveTo>
                    <a:pt x="897" y="559"/>
                  </a:moveTo>
                  <a:cubicBezTo>
                    <a:pt x="893" y="554"/>
                    <a:pt x="887" y="550"/>
                    <a:pt x="879" y="550"/>
                  </a:cubicBezTo>
                  <a:cubicBezTo>
                    <a:pt x="879" y="550"/>
                    <a:pt x="879" y="550"/>
                    <a:pt x="571" y="550"/>
                  </a:cubicBezTo>
                  <a:cubicBezTo>
                    <a:pt x="562" y="550"/>
                    <a:pt x="552" y="557"/>
                    <a:pt x="549" y="565"/>
                  </a:cubicBezTo>
                  <a:cubicBezTo>
                    <a:pt x="549" y="565"/>
                    <a:pt x="549" y="565"/>
                    <a:pt x="353" y="565"/>
                  </a:cubicBezTo>
                  <a:cubicBezTo>
                    <a:pt x="350" y="557"/>
                    <a:pt x="341" y="550"/>
                    <a:pt x="332" y="550"/>
                  </a:cubicBezTo>
                  <a:cubicBezTo>
                    <a:pt x="332" y="550"/>
                    <a:pt x="332" y="550"/>
                    <a:pt x="23" y="550"/>
                  </a:cubicBezTo>
                  <a:cubicBezTo>
                    <a:pt x="16" y="550"/>
                    <a:pt x="10" y="554"/>
                    <a:pt x="6" y="559"/>
                  </a:cubicBezTo>
                  <a:cubicBezTo>
                    <a:pt x="1" y="565"/>
                    <a:pt x="0" y="573"/>
                    <a:pt x="2" y="580"/>
                  </a:cubicBezTo>
                  <a:cubicBezTo>
                    <a:pt x="2" y="580"/>
                    <a:pt x="2" y="580"/>
                    <a:pt x="18" y="632"/>
                  </a:cubicBezTo>
                  <a:cubicBezTo>
                    <a:pt x="21" y="642"/>
                    <a:pt x="31" y="649"/>
                    <a:pt x="40" y="649"/>
                  </a:cubicBezTo>
                  <a:cubicBezTo>
                    <a:pt x="40" y="649"/>
                    <a:pt x="40" y="649"/>
                    <a:pt x="863" y="649"/>
                  </a:cubicBezTo>
                  <a:cubicBezTo>
                    <a:pt x="872" y="649"/>
                    <a:pt x="881" y="642"/>
                    <a:pt x="884" y="632"/>
                  </a:cubicBezTo>
                  <a:cubicBezTo>
                    <a:pt x="884" y="632"/>
                    <a:pt x="884" y="632"/>
                    <a:pt x="901" y="580"/>
                  </a:cubicBezTo>
                  <a:cubicBezTo>
                    <a:pt x="903" y="573"/>
                    <a:pt x="902" y="565"/>
                    <a:pt x="897" y="559"/>
                  </a:cubicBezTo>
                  <a:close/>
                  <a:moveTo>
                    <a:pt x="538" y="205"/>
                  </a:moveTo>
                  <a:cubicBezTo>
                    <a:pt x="606" y="274"/>
                    <a:pt x="606" y="274"/>
                    <a:pt x="606" y="274"/>
                  </a:cubicBezTo>
                  <a:cubicBezTo>
                    <a:pt x="499" y="381"/>
                    <a:pt x="499" y="381"/>
                    <a:pt x="499" y="381"/>
                  </a:cubicBezTo>
                  <a:cubicBezTo>
                    <a:pt x="493" y="387"/>
                    <a:pt x="494" y="397"/>
                    <a:pt x="499" y="403"/>
                  </a:cubicBezTo>
                  <a:cubicBezTo>
                    <a:pt x="502" y="406"/>
                    <a:pt x="507" y="408"/>
                    <a:pt x="511" y="408"/>
                  </a:cubicBezTo>
                  <a:cubicBezTo>
                    <a:pt x="514" y="408"/>
                    <a:pt x="518" y="406"/>
                    <a:pt x="521" y="403"/>
                  </a:cubicBezTo>
                  <a:cubicBezTo>
                    <a:pt x="638" y="286"/>
                    <a:pt x="638" y="286"/>
                    <a:pt x="638" y="286"/>
                  </a:cubicBezTo>
                  <a:cubicBezTo>
                    <a:pt x="638" y="286"/>
                    <a:pt x="639" y="285"/>
                    <a:pt x="639" y="285"/>
                  </a:cubicBezTo>
                  <a:cubicBezTo>
                    <a:pt x="643" y="282"/>
                    <a:pt x="644" y="278"/>
                    <a:pt x="644" y="274"/>
                  </a:cubicBezTo>
                  <a:cubicBezTo>
                    <a:pt x="644" y="269"/>
                    <a:pt x="643" y="266"/>
                    <a:pt x="640" y="263"/>
                  </a:cubicBezTo>
                  <a:cubicBezTo>
                    <a:pt x="639" y="262"/>
                    <a:pt x="639" y="262"/>
                    <a:pt x="638" y="261"/>
                  </a:cubicBezTo>
                  <a:cubicBezTo>
                    <a:pt x="560" y="183"/>
                    <a:pt x="560" y="183"/>
                    <a:pt x="560" y="183"/>
                  </a:cubicBezTo>
                  <a:cubicBezTo>
                    <a:pt x="557" y="180"/>
                    <a:pt x="553" y="178"/>
                    <a:pt x="549" y="178"/>
                  </a:cubicBezTo>
                  <a:cubicBezTo>
                    <a:pt x="545" y="178"/>
                    <a:pt x="541" y="180"/>
                    <a:pt x="538" y="183"/>
                  </a:cubicBezTo>
                  <a:cubicBezTo>
                    <a:pt x="532" y="189"/>
                    <a:pt x="532" y="198"/>
                    <a:pt x="538" y="205"/>
                  </a:cubicBezTo>
                  <a:close/>
                  <a:moveTo>
                    <a:pt x="263" y="285"/>
                  </a:moveTo>
                  <a:cubicBezTo>
                    <a:pt x="264" y="286"/>
                    <a:pt x="264" y="286"/>
                    <a:pt x="264" y="286"/>
                  </a:cubicBezTo>
                  <a:cubicBezTo>
                    <a:pt x="343" y="365"/>
                    <a:pt x="343" y="365"/>
                    <a:pt x="343" y="365"/>
                  </a:cubicBezTo>
                  <a:cubicBezTo>
                    <a:pt x="343" y="365"/>
                    <a:pt x="343" y="365"/>
                    <a:pt x="343" y="366"/>
                  </a:cubicBezTo>
                  <a:cubicBezTo>
                    <a:pt x="346" y="368"/>
                    <a:pt x="350" y="369"/>
                    <a:pt x="354" y="369"/>
                  </a:cubicBezTo>
                  <a:cubicBezTo>
                    <a:pt x="358" y="369"/>
                    <a:pt x="362" y="368"/>
                    <a:pt x="365" y="365"/>
                  </a:cubicBezTo>
                  <a:cubicBezTo>
                    <a:pt x="368" y="362"/>
                    <a:pt x="370" y="358"/>
                    <a:pt x="369" y="353"/>
                  </a:cubicBezTo>
                  <a:cubicBezTo>
                    <a:pt x="369" y="349"/>
                    <a:pt x="368" y="345"/>
                    <a:pt x="365" y="343"/>
                  </a:cubicBezTo>
                  <a:cubicBezTo>
                    <a:pt x="296" y="274"/>
                    <a:pt x="296" y="274"/>
                    <a:pt x="296" y="274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406" y="164"/>
                    <a:pt x="408" y="160"/>
                    <a:pt x="408" y="156"/>
                  </a:cubicBezTo>
                  <a:cubicBezTo>
                    <a:pt x="408" y="152"/>
                    <a:pt x="406" y="147"/>
                    <a:pt x="403" y="144"/>
                  </a:cubicBezTo>
                  <a:cubicBezTo>
                    <a:pt x="397" y="139"/>
                    <a:pt x="387" y="138"/>
                    <a:pt x="381" y="144"/>
                  </a:cubicBezTo>
                  <a:cubicBezTo>
                    <a:pt x="264" y="262"/>
                    <a:pt x="264" y="262"/>
                    <a:pt x="264" y="262"/>
                  </a:cubicBezTo>
                  <a:cubicBezTo>
                    <a:pt x="264" y="262"/>
                    <a:pt x="264" y="262"/>
                    <a:pt x="263" y="262"/>
                  </a:cubicBezTo>
                  <a:cubicBezTo>
                    <a:pt x="263" y="263"/>
                    <a:pt x="263" y="263"/>
                    <a:pt x="263" y="263"/>
                  </a:cubicBezTo>
                  <a:cubicBezTo>
                    <a:pt x="260" y="266"/>
                    <a:pt x="259" y="270"/>
                    <a:pt x="259" y="274"/>
                  </a:cubicBezTo>
                  <a:cubicBezTo>
                    <a:pt x="259" y="278"/>
                    <a:pt x="260" y="282"/>
                    <a:pt x="263" y="285"/>
                  </a:cubicBezTo>
                  <a:cubicBezTo>
                    <a:pt x="263" y="285"/>
                    <a:pt x="263" y="285"/>
                    <a:pt x="263" y="285"/>
                  </a:cubicBezTo>
                  <a:close/>
                  <a:moveTo>
                    <a:pt x="375" y="418"/>
                  </a:moveTo>
                  <a:cubicBezTo>
                    <a:pt x="375" y="418"/>
                    <a:pt x="375" y="418"/>
                    <a:pt x="376" y="418"/>
                  </a:cubicBezTo>
                  <a:cubicBezTo>
                    <a:pt x="377" y="419"/>
                    <a:pt x="379" y="419"/>
                    <a:pt x="382" y="419"/>
                  </a:cubicBezTo>
                  <a:cubicBezTo>
                    <a:pt x="388" y="419"/>
                    <a:pt x="393" y="416"/>
                    <a:pt x="396" y="411"/>
                  </a:cubicBezTo>
                  <a:cubicBezTo>
                    <a:pt x="543" y="128"/>
                    <a:pt x="543" y="128"/>
                    <a:pt x="543" y="128"/>
                  </a:cubicBezTo>
                  <a:cubicBezTo>
                    <a:pt x="547" y="121"/>
                    <a:pt x="545" y="111"/>
                    <a:pt x="537" y="107"/>
                  </a:cubicBezTo>
                  <a:cubicBezTo>
                    <a:pt x="537" y="107"/>
                    <a:pt x="536" y="107"/>
                    <a:pt x="536" y="107"/>
                  </a:cubicBezTo>
                  <a:cubicBezTo>
                    <a:pt x="529" y="103"/>
                    <a:pt x="520" y="106"/>
                    <a:pt x="515" y="114"/>
                  </a:cubicBezTo>
                  <a:cubicBezTo>
                    <a:pt x="368" y="397"/>
                    <a:pt x="368" y="397"/>
                    <a:pt x="368" y="397"/>
                  </a:cubicBezTo>
                  <a:cubicBezTo>
                    <a:pt x="364" y="405"/>
                    <a:pt x="367" y="414"/>
                    <a:pt x="375" y="4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F2A5777-A109-427B-AC33-30ADDE2D59E2}"/>
              </a:ext>
            </a:extLst>
          </p:cNvPr>
          <p:cNvCxnSpPr/>
          <p:nvPr/>
        </p:nvCxnSpPr>
        <p:spPr>
          <a:xfrm>
            <a:off x="2842053" y="1328239"/>
            <a:ext cx="0" cy="31962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23D32B9-F41B-494B-B8AA-95708DE2B5B1}"/>
              </a:ext>
            </a:extLst>
          </p:cNvPr>
          <p:cNvCxnSpPr/>
          <p:nvPr/>
        </p:nvCxnSpPr>
        <p:spPr>
          <a:xfrm>
            <a:off x="3869037" y="1328239"/>
            <a:ext cx="0" cy="31962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5A93CE-C140-4E63-A8A5-1B8D46445C28}"/>
              </a:ext>
            </a:extLst>
          </p:cNvPr>
          <p:cNvCxnSpPr/>
          <p:nvPr/>
        </p:nvCxnSpPr>
        <p:spPr>
          <a:xfrm>
            <a:off x="5923004" y="1328239"/>
            <a:ext cx="0" cy="31962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0FD35F2E-4F08-4693-917F-5A4FBEE86401}"/>
              </a:ext>
            </a:extLst>
          </p:cNvPr>
          <p:cNvSpPr/>
          <p:nvPr/>
        </p:nvSpPr>
        <p:spPr>
          <a:xfrm>
            <a:off x="5789203" y="1461875"/>
            <a:ext cx="267602" cy="26760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6D8AB22-19BC-4232-B7D9-5DFFD144FE98}"/>
              </a:ext>
            </a:extLst>
          </p:cNvPr>
          <p:cNvSpPr/>
          <p:nvPr/>
        </p:nvSpPr>
        <p:spPr>
          <a:xfrm>
            <a:off x="5789203" y="2897253"/>
            <a:ext cx="267602" cy="26760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CAADAF4-F213-4208-B54A-A8565919AD07}"/>
              </a:ext>
            </a:extLst>
          </p:cNvPr>
          <p:cNvSpPr/>
          <p:nvPr/>
        </p:nvSpPr>
        <p:spPr>
          <a:xfrm>
            <a:off x="5789203" y="4144143"/>
            <a:ext cx="267602" cy="26760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F5F6438-37AB-4470-ADC7-515C36645C04}"/>
              </a:ext>
            </a:extLst>
          </p:cNvPr>
          <p:cNvSpPr/>
          <p:nvPr/>
        </p:nvSpPr>
        <p:spPr>
          <a:xfrm>
            <a:off x="3735238" y="1868043"/>
            <a:ext cx="267602" cy="26760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3D8063A-1724-4B36-BFA0-A63480A64151}"/>
              </a:ext>
            </a:extLst>
          </p:cNvPr>
          <p:cNvSpPr/>
          <p:nvPr/>
        </p:nvSpPr>
        <p:spPr>
          <a:xfrm>
            <a:off x="3735238" y="2411998"/>
            <a:ext cx="267602" cy="26760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A528376-595B-4DE3-B5A2-15C9BE252958}"/>
              </a:ext>
            </a:extLst>
          </p:cNvPr>
          <p:cNvSpPr/>
          <p:nvPr/>
        </p:nvSpPr>
        <p:spPr>
          <a:xfrm>
            <a:off x="3735238" y="3821327"/>
            <a:ext cx="267602" cy="26760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FA88018-19F1-44FD-AB62-275DE55C6A4E}"/>
              </a:ext>
            </a:extLst>
          </p:cNvPr>
          <p:cNvSpPr/>
          <p:nvPr/>
        </p:nvSpPr>
        <p:spPr>
          <a:xfrm>
            <a:off x="2708252" y="2658777"/>
            <a:ext cx="267602" cy="2676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1E9674C-8A19-46AB-B75C-3D54F7A1FE4A}"/>
              </a:ext>
            </a:extLst>
          </p:cNvPr>
          <p:cNvSpPr/>
          <p:nvPr/>
        </p:nvSpPr>
        <p:spPr>
          <a:xfrm>
            <a:off x="2708252" y="3104440"/>
            <a:ext cx="267602" cy="2676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3EF518D-F620-479B-A5F1-608D276B0079}"/>
              </a:ext>
            </a:extLst>
          </p:cNvPr>
          <p:cNvSpPr/>
          <p:nvPr/>
        </p:nvSpPr>
        <p:spPr>
          <a:xfrm>
            <a:off x="2708252" y="3550103"/>
            <a:ext cx="267602" cy="2676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F8A68E2-0E1B-46CC-BFA1-FC15BCE0FC57}"/>
              </a:ext>
            </a:extLst>
          </p:cNvPr>
          <p:cNvCxnSpPr>
            <a:cxnSpLocks/>
            <a:stCxn id="7" idx="2"/>
            <a:endCxn id="20" idx="6"/>
          </p:cNvCxnSpPr>
          <p:nvPr/>
        </p:nvCxnSpPr>
        <p:spPr>
          <a:xfrm flipH="1">
            <a:off x="4002840" y="1595676"/>
            <a:ext cx="1786363" cy="40616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BDF181D-60C3-4619-AB69-F49CCDD154DD}"/>
              </a:ext>
            </a:extLst>
          </p:cNvPr>
          <p:cNvCxnSpPr>
            <a:cxnSpLocks/>
            <a:stCxn id="20" idx="4"/>
            <a:endCxn id="21" idx="0"/>
          </p:cNvCxnSpPr>
          <p:nvPr/>
        </p:nvCxnSpPr>
        <p:spPr>
          <a:xfrm>
            <a:off x="3869039" y="2135645"/>
            <a:ext cx="0" cy="27635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7C06FCE-1581-47F1-B01D-4617B681CF17}"/>
              </a:ext>
            </a:extLst>
          </p:cNvPr>
          <p:cNvCxnSpPr>
            <a:cxnSpLocks/>
            <a:stCxn id="21" idx="4"/>
            <a:endCxn id="22" idx="0"/>
          </p:cNvCxnSpPr>
          <p:nvPr/>
        </p:nvCxnSpPr>
        <p:spPr>
          <a:xfrm>
            <a:off x="3869039" y="2679600"/>
            <a:ext cx="0" cy="11417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2D0CE90-4F9F-4434-81DE-F245F34A8EB3}"/>
              </a:ext>
            </a:extLst>
          </p:cNvPr>
          <p:cNvCxnSpPr>
            <a:cxnSpLocks/>
            <a:stCxn id="24" idx="4"/>
            <a:endCxn id="25" idx="0"/>
          </p:cNvCxnSpPr>
          <p:nvPr/>
        </p:nvCxnSpPr>
        <p:spPr>
          <a:xfrm>
            <a:off x="2842053" y="2926379"/>
            <a:ext cx="0" cy="17806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775016A1-9FB0-4F33-8F52-6C9774AD8CC2}"/>
              </a:ext>
            </a:extLst>
          </p:cNvPr>
          <p:cNvCxnSpPr>
            <a:cxnSpLocks/>
            <a:stCxn id="25" idx="4"/>
            <a:endCxn id="26" idx="0"/>
          </p:cNvCxnSpPr>
          <p:nvPr/>
        </p:nvCxnSpPr>
        <p:spPr>
          <a:xfrm>
            <a:off x="2842053" y="3372042"/>
            <a:ext cx="0" cy="17806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4775B0A8-FE87-415D-B5AA-7F3F0A18D2BD}"/>
              </a:ext>
            </a:extLst>
          </p:cNvPr>
          <p:cNvCxnSpPr>
            <a:cxnSpLocks/>
            <a:stCxn id="21" idx="2"/>
            <a:endCxn id="24" idx="6"/>
          </p:cNvCxnSpPr>
          <p:nvPr/>
        </p:nvCxnSpPr>
        <p:spPr>
          <a:xfrm flipH="1">
            <a:off x="2975854" y="2545799"/>
            <a:ext cx="759384" cy="2467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5A4A9A6-60F9-4840-A670-37D221D31F2D}"/>
              </a:ext>
            </a:extLst>
          </p:cNvPr>
          <p:cNvCxnSpPr>
            <a:cxnSpLocks/>
            <a:stCxn id="26" idx="6"/>
            <a:endCxn id="22" idx="2"/>
          </p:cNvCxnSpPr>
          <p:nvPr/>
        </p:nvCxnSpPr>
        <p:spPr>
          <a:xfrm>
            <a:off x="2975854" y="3683904"/>
            <a:ext cx="759384" cy="2712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A631CA8-4F92-4A9A-B545-7556F2DC49A6}"/>
              </a:ext>
            </a:extLst>
          </p:cNvPr>
          <p:cNvCxnSpPr>
            <a:cxnSpLocks/>
            <a:stCxn id="22" idx="6"/>
            <a:endCxn id="18" idx="2"/>
          </p:cNvCxnSpPr>
          <p:nvPr/>
        </p:nvCxnSpPr>
        <p:spPr>
          <a:xfrm>
            <a:off x="4002840" y="3955128"/>
            <a:ext cx="1786363" cy="3228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406699F0-F5F9-45C3-8526-1A9E27AF1081}"/>
              </a:ext>
            </a:extLst>
          </p:cNvPr>
          <p:cNvSpPr txBox="1"/>
          <p:nvPr/>
        </p:nvSpPr>
        <p:spPr>
          <a:xfrm>
            <a:off x="2230053" y="1027374"/>
            <a:ext cx="1224000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>
                <a:latin typeface="+mn-lt"/>
              </a:rPr>
              <a:t>feature/fix/chang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FA961CF-0EA2-45FB-8E8F-E33829DBD230}"/>
              </a:ext>
            </a:extLst>
          </p:cNvPr>
          <p:cNvSpPr txBox="1"/>
          <p:nvPr/>
        </p:nvSpPr>
        <p:spPr>
          <a:xfrm>
            <a:off x="3592948" y="1027374"/>
            <a:ext cx="540000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>
                <a:latin typeface="+mn-lt"/>
              </a:rPr>
              <a:t>develop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F4E981D-4BF6-4D9E-A9C8-2DF2C1FB9B12}"/>
              </a:ext>
            </a:extLst>
          </p:cNvPr>
          <p:cNvSpPr txBox="1"/>
          <p:nvPr/>
        </p:nvSpPr>
        <p:spPr>
          <a:xfrm>
            <a:off x="5677136" y="1027374"/>
            <a:ext cx="540000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>
                <a:latin typeface="+mn-lt"/>
              </a:rPr>
              <a:t>master</a:t>
            </a:r>
          </a:p>
        </p:txBody>
      </p:sp>
      <p:sp>
        <p:nvSpPr>
          <p:cNvPr id="67" name="Speech Bubble: Rectangle 66">
            <a:extLst>
              <a:ext uri="{FF2B5EF4-FFF2-40B4-BE49-F238E27FC236}">
                <a16:creationId xmlns:a16="http://schemas.microsoft.com/office/drawing/2014/main" id="{DD09CA3B-36B6-4895-98CA-784AF2C6D141}"/>
              </a:ext>
            </a:extLst>
          </p:cNvPr>
          <p:cNvSpPr/>
          <p:nvPr/>
        </p:nvSpPr>
        <p:spPr>
          <a:xfrm>
            <a:off x="162584" y="1824382"/>
            <a:ext cx="1729205" cy="429102"/>
          </a:xfrm>
          <a:prstGeom prst="wedgeRectCallout">
            <a:avLst>
              <a:gd name="adj1" fmla="val 138278"/>
              <a:gd name="adj2" fmla="val 10356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Git checkout –b fix/[id]_pipeline_issue</a:t>
            </a:r>
          </a:p>
        </p:txBody>
      </p:sp>
      <p:sp>
        <p:nvSpPr>
          <p:cNvPr id="68" name="Speech Bubble: Rectangle 67">
            <a:extLst>
              <a:ext uri="{FF2B5EF4-FFF2-40B4-BE49-F238E27FC236}">
                <a16:creationId xmlns:a16="http://schemas.microsoft.com/office/drawing/2014/main" id="{9B9CE559-FBD7-407F-B75E-C4A247905BBC}"/>
              </a:ext>
            </a:extLst>
          </p:cNvPr>
          <p:cNvSpPr/>
          <p:nvPr/>
        </p:nvSpPr>
        <p:spPr>
          <a:xfrm>
            <a:off x="114444" y="3220077"/>
            <a:ext cx="1729205" cy="808226"/>
          </a:xfrm>
          <a:prstGeom prst="wedgeRectCallout">
            <a:avLst>
              <a:gd name="adj1" fmla="val 104930"/>
              <a:gd name="adj2" fmla="val -7523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Fixed unhandled expectation pipeline issue (precheck error in build check)</a:t>
            </a:r>
          </a:p>
        </p:txBody>
      </p:sp>
      <p:sp>
        <p:nvSpPr>
          <p:cNvPr id="69" name="Speech Bubble: Rectangle 68">
            <a:extLst>
              <a:ext uri="{FF2B5EF4-FFF2-40B4-BE49-F238E27FC236}">
                <a16:creationId xmlns:a16="http://schemas.microsoft.com/office/drawing/2014/main" id="{B9FA4B9C-F04D-440C-B8A9-1A18570F4EE3}"/>
              </a:ext>
            </a:extLst>
          </p:cNvPr>
          <p:cNvSpPr/>
          <p:nvPr/>
        </p:nvSpPr>
        <p:spPr>
          <a:xfrm>
            <a:off x="6535977" y="1375536"/>
            <a:ext cx="976931" cy="267603"/>
          </a:xfrm>
          <a:prstGeom prst="wedgeRectCallout">
            <a:avLst>
              <a:gd name="adj1" fmla="val -85632"/>
              <a:gd name="adj2" fmla="val 2405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Tag 0.1.0</a:t>
            </a:r>
          </a:p>
        </p:txBody>
      </p: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C8677491-2E6E-48FF-9D28-97054DB047E1}"/>
              </a:ext>
            </a:extLst>
          </p:cNvPr>
          <p:cNvSpPr/>
          <p:nvPr/>
        </p:nvSpPr>
        <p:spPr>
          <a:xfrm>
            <a:off x="6535977" y="2853650"/>
            <a:ext cx="976931" cy="267603"/>
          </a:xfrm>
          <a:prstGeom prst="wedgeRectCallout">
            <a:avLst>
              <a:gd name="adj1" fmla="val -85632"/>
              <a:gd name="adj2" fmla="val 2405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Tag 0.1.1</a:t>
            </a:r>
          </a:p>
        </p:txBody>
      </p:sp>
      <p:sp>
        <p:nvSpPr>
          <p:cNvPr id="73" name="Speech Bubble: Rectangle 72">
            <a:extLst>
              <a:ext uri="{FF2B5EF4-FFF2-40B4-BE49-F238E27FC236}">
                <a16:creationId xmlns:a16="http://schemas.microsoft.com/office/drawing/2014/main" id="{25CCB25A-030F-4FD7-8520-50AE6F6851D1}"/>
              </a:ext>
            </a:extLst>
          </p:cNvPr>
          <p:cNvSpPr/>
          <p:nvPr/>
        </p:nvSpPr>
        <p:spPr>
          <a:xfrm>
            <a:off x="6535977" y="4116192"/>
            <a:ext cx="976931" cy="267603"/>
          </a:xfrm>
          <a:prstGeom prst="wedgeRectCallout">
            <a:avLst>
              <a:gd name="adj1" fmla="val -85632"/>
              <a:gd name="adj2" fmla="val 2405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Tag 0.2.0</a:t>
            </a:r>
          </a:p>
        </p:txBody>
      </p:sp>
    </p:spTree>
    <p:extLst>
      <p:ext uri="{BB962C8B-B14F-4D97-AF65-F5344CB8AC3E}">
        <p14:creationId xmlns:p14="http://schemas.microsoft.com/office/powerpoint/2010/main" val="881768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1611916"/>
          </a:xfrm>
        </p:spPr>
        <p:txBody>
          <a:bodyPr/>
          <a:lstStyle/>
          <a:p>
            <a:r>
              <a:rPr lang="de-DE">
                <a:ea typeface="+mj-lt"/>
                <a:cs typeface="+mj-lt"/>
              </a:rPr>
              <a:t>Best Practice - Commits, Branching, Merging</a:t>
            </a:r>
            <a:endParaRPr lang="de-DE"/>
          </a:p>
          <a:p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NavigationTriangle">
            <a:extLst>
              <a:ext uri="{FF2B5EF4-FFF2-40B4-BE49-F238E27FC236}">
                <a16:creationId xmlns:a16="http://schemas.microsoft.com/office/drawing/2014/main" id="{D4E7C605-86EF-4345-BB57-B5162ECC26BB}"/>
              </a:ext>
            </a:extLst>
          </p:cNvPr>
          <p:cNvSpPr/>
          <p:nvPr/>
        </p:nvSpPr>
        <p:spPr>
          <a:xfrm rot="16200000">
            <a:off x="8080517" y="-37923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BF3E58C-14DA-4FA0-84BC-E686D30061D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98692" y="53517"/>
            <a:ext cx="455613" cy="457200"/>
            <a:chOff x="5120" y="1668"/>
            <a:chExt cx="287" cy="288"/>
          </a:xfrm>
        </p:grpSpPr>
        <p:sp>
          <p:nvSpPr>
            <p:cNvPr id="15" name="AutoShape 49">
              <a:extLst>
                <a:ext uri="{FF2B5EF4-FFF2-40B4-BE49-F238E27FC236}">
                  <a16:creationId xmlns:a16="http://schemas.microsoft.com/office/drawing/2014/main" id="{97C9C750-C61C-4A80-8D70-C987D24AFC8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0" y="1668"/>
              <a:ext cx="28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1">
              <a:extLst>
                <a:ext uri="{FF2B5EF4-FFF2-40B4-BE49-F238E27FC236}">
                  <a16:creationId xmlns:a16="http://schemas.microsoft.com/office/drawing/2014/main" id="{604E7E55-D40D-4427-BF98-D4027D8A8E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6" y="1720"/>
              <a:ext cx="255" cy="184"/>
            </a:xfrm>
            <a:custGeom>
              <a:avLst/>
              <a:gdLst>
                <a:gd name="T0" fmla="*/ 816 w 903"/>
                <a:gd name="T1" fmla="*/ 525 h 649"/>
                <a:gd name="T2" fmla="*/ 839 w 903"/>
                <a:gd name="T3" fmla="*/ 22 h 649"/>
                <a:gd name="T4" fmla="*/ 86 w 903"/>
                <a:gd name="T5" fmla="*/ 0 h 649"/>
                <a:gd name="T6" fmla="*/ 64 w 903"/>
                <a:gd name="T7" fmla="*/ 502 h 649"/>
                <a:gd name="T8" fmla="*/ 116 w 903"/>
                <a:gd name="T9" fmla="*/ 70 h 649"/>
                <a:gd name="T10" fmla="*/ 776 w 903"/>
                <a:gd name="T11" fmla="*/ 59 h 649"/>
                <a:gd name="T12" fmla="*/ 787 w 903"/>
                <a:gd name="T13" fmla="*/ 455 h 649"/>
                <a:gd name="T14" fmla="*/ 127 w 903"/>
                <a:gd name="T15" fmla="*/ 465 h 649"/>
                <a:gd name="T16" fmla="*/ 116 w 903"/>
                <a:gd name="T17" fmla="*/ 70 h 649"/>
                <a:gd name="T18" fmla="*/ 879 w 903"/>
                <a:gd name="T19" fmla="*/ 550 h 649"/>
                <a:gd name="T20" fmla="*/ 549 w 903"/>
                <a:gd name="T21" fmla="*/ 565 h 649"/>
                <a:gd name="T22" fmla="*/ 332 w 903"/>
                <a:gd name="T23" fmla="*/ 550 h 649"/>
                <a:gd name="T24" fmla="*/ 6 w 903"/>
                <a:gd name="T25" fmla="*/ 559 h 649"/>
                <a:gd name="T26" fmla="*/ 18 w 903"/>
                <a:gd name="T27" fmla="*/ 632 h 649"/>
                <a:gd name="T28" fmla="*/ 863 w 903"/>
                <a:gd name="T29" fmla="*/ 649 h 649"/>
                <a:gd name="T30" fmla="*/ 901 w 903"/>
                <a:gd name="T31" fmla="*/ 580 h 649"/>
                <a:gd name="T32" fmla="*/ 538 w 903"/>
                <a:gd name="T33" fmla="*/ 205 h 649"/>
                <a:gd name="T34" fmla="*/ 499 w 903"/>
                <a:gd name="T35" fmla="*/ 381 h 649"/>
                <a:gd name="T36" fmla="*/ 511 w 903"/>
                <a:gd name="T37" fmla="*/ 408 h 649"/>
                <a:gd name="T38" fmla="*/ 638 w 903"/>
                <a:gd name="T39" fmla="*/ 286 h 649"/>
                <a:gd name="T40" fmla="*/ 644 w 903"/>
                <a:gd name="T41" fmla="*/ 274 h 649"/>
                <a:gd name="T42" fmla="*/ 638 w 903"/>
                <a:gd name="T43" fmla="*/ 261 h 649"/>
                <a:gd name="T44" fmla="*/ 549 w 903"/>
                <a:gd name="T45" fmla="*/ 178 h 649"/>
                <a:gd name="T46" fmla="*/ 538 w 903"/>
                <a:gd name="T47" fmla="*/ 205 h 649"/>
                <a:gd name="T48" fmla="*/ 264 w 903"/>
                <a:gd name="T49" fmla="*/ 286 h 649"/>
                <a:gd name="T50" fmla="*/ 343 w 903"/>
                <a:gd name="T51" fmla="*/ 366 h 649"/>
                <a:gd name="T52" fmla="*/ 365 w 903"/>
                <a:gd name="T53" fmla="*/ 365 h 649"/>
                <a:gd name="T54" fmla="*/ 365 w 903"/>
                <a:gd name="T55" fmla="*/ 343 h 649"/>
                <a:gd name="T56" fmla="*/ 403 w 903"/>
                <a:gd name="T57" fmla="*/ 167 h 649"/>
                <a:gd name="T58" fmla="*/ 403 w 903"/>
                <a:gd name="T59" fmla="*/ 144 h 649"/>
                <a:gd name="T60" fmla="*/ 264 w 903"/>
                <a:gd name="T61" fmla="*/ 262 h 649"/>
                <a:gd name="T62" fmla="*/ 263 w 903"/>
                <a:gd name="T63" fmla="*/ 263 h 649"/>
                <a:gd name="T64" fmla="*/ 263 w 903"/>
                <a:gd name="T65" fmla="*/ 285 h 649"/>
                <a:gd name="T66" fmla="*/ 375 w 903"/>
                <a:gd name="T67" fmla="*/ 418 h 649"/>
                <a:gd name="T68" fmla="*/ 382 w 903"/>
                <a:gd name="T69" fmla="*/ 419 h 649"/>
                <a:gd name="T70" fmla="*/ 543 w 903"/>
                <a:gd name="T71" fmla="*/ 128 h 649"/>
                <a:gd name="T72" fmla="*/ 536 w 903"/>
                <a:gd name="T73" fmla="*/ 107 h 649"/>
                <a:gd name="T74" fmla="*/ 368 w 903"/>
                <a:gd name="T75" fmla="*/ 39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649">
                  <a:moveTo>
                    <a:pt x="86" y="525"/>
                  </a:moveTo>
                  <a:cubicBezTo>
                    <a:pt x="816" y="525"/>
                    <a:pt x="816" y="525"/>
                    <a:pt x="816" y="525"/>
                  </a:cubicBezTo>
                  <a:cubicBezTo>
                    <a:pt x="829" y="525"/>
                    <a:pt x="839" y="515"/>
                    <a:pt x="839" y="502"/>
                  </a:cubicBezTo>
                  <a:cubicBezTo>
                    <a:pt x="839" y="22"/>
                    <a:pt x="839" y="22"/>
                    <a:pt x="839" y="22"/>
                  </a:cubicBezTo>
                  <a:cubicBezTo>
                    <a:pt x="839" y="10"/>
                    <a:pt x="829" y="0"/>
                    <a:pt x="81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64" y="10"/>
                    <a:pt x="64" y="22"/>
                  </a:cubicBezTo>
                  <a:cubicBezTo>
                    <a:pt x="64" y="502"/>
                    <a:pt x="64" y="502"/>
                    <a:pt x="64" y="502"/>
                  </a:cubicBezTo>
                  <a:cubicBezTo>
                    <a:pt x="64" y="515"/>
                    <a:pt x="74" y="525"/>
                    <a:pt x="86" y="525"/>
                  </a:cubicBezTo>
                  <a:close/>
                  <a:moveTo>
                    <a:pt x="116" y="70"/>
                  </a:moveTo>
                  <a:cubicBezTo>
                    <a:pt x="116" y="64"/>
                    <a:pt x="120" y="59"/>
                    <a:pt x="127" y="59"/>
                  </a:cubicBezTo>
                  <a:cubicBezTo>
                    <a:pt x="776" y="59"/>
                    <a:pt x="776" y="59"/>
                    <a:pt x="776" y="59"/>
                  </a:cubicBezTo>
                  <a:cubicBezTo>
                    <a:pt x="782" y="59"/>
                    <a:pt x="787" y="64"/>
                    <a:pt x="787" y="70"/>
                  </a:cubicBezTo>
                  <a:cubicBezTo>
                    <a:pt x="787" y="455"/>
                    <a:pt x="787" y="455"/>
                    <a:pt x="787" y="455"/>
                  </a:cubicBezTo>
                  <a:cubicBezTo>
                    <a:pt x="787" y="461"/>
                    <a:pt x="782" y="465"/>
                    <a:pt x="776" y="465"/>
                  </a:cubicBezTo>
                  <a:cubicBezTo>
                    <a:pt x="127" y="465"/>
                    <a:pt x="127" y="465"/>
                    <a:pt x="127" y="465"/>
                  </a:cubicBezTo>
                  <a:cubicBezTo>
                    <a:pt x="120" y="465"/>
                    <a:pt x="116" y="461"/>
                    <a:pt x="116" y="455"/>
                  </a:cubicBezTo>
                  <a:cubicBezTo>
                    <a:pt x="116" y="70"/>
                    <a:pt x="116" y="70"/>
                    <a:pt x="116" y="70"/>
                  </a:cubicBezTo>
                  <a:close/>
                  <a:moveTo>
                    <a:pt x="897" y="559"/>
                  </a:moveTo>
                  <a:cubicBezTo>
                    <a:pt x="893" y="554"/>
                    <a:pt x="887" y="550"/>
                    <a:pt x="879" y="550"/>
                  </a:cubicBezTo>
                  <a:cubicBezTo>
                    <a:pt x="879" y="550"/>
                    <a:pt x="879" y="550"/>
                    <a:pt x="571" y="550"/>
                  </a:cubicBezTo>
                  <a:cubicBezTo>
                    <a:pt x="562" y="550"/>
                    <a:pt x="552" y="557"/>
                    <a:pt x="549" y="565"/>
                  </a:cubicBezTo>
                  <a:cubicBezTo>
                    <a:pt x="549" y="565"/>
                    <a:pt x="549" y="565"/>
                    <a:pt x="353" y="565"/>
                  </a:cubicBezTo>
                  <a:cubicBezTo>
                    <a:pt x="350" y="557"/>
                    <a:pt x="341" y="550"/>
                    <a:pt x="332" y="550"/>
                  </a:cubicBezTo>
                  <a:cubicBezTo>
                    <a:pt x="332" y="550"/>
                    <a:pt x="332" y="550"/>
                    <a:pt x="23" y="550"/>
                  </a:cubicBezTo>
                  <a:cubicBezTo>
                    <a:pt x="16" y="550"/>
                    <a:pt x="10" y="554"/>
                    <a:pt x="6" y="559"/>
                  </a:cubicBezTo>
                  <a:cubicBezTo>
                    <a:pt x="1" y="565"/>
                    <a:pt x="0" y="573"/>
                    <a:pt x="2" y="580"/>
                  </a:cubicBezTo>
                  <a:cubicBezTo>
                    <a:pt x="2" y="580"/>
                    <a:pt x="2" y="580"/>
                    <a:pt x="18" y="632"/>
                  </a:cubicBezTo>
                  <a:cubicBezTo>
                    <a:pt x="21" y="642"/>
                    <a:pt x="31" y="649"/>
                    <a:pt x="40" y="649"/>
                  </a:cubicBezTo>
                  <a:cubicBezTo>
                    <a:pt x="40" y="649"/>
                    <a:pt x="40" y="649"/>
                    <a:pt x="863" y="649"/>
                  </a:cubicBezTo>
                  <a:cubicBezTo>
                    <a:pt x="872" y="649"/>
                    <a:pt x="881" y="642"/>
                    <a:pt x="884" y="632"/>
                  </a:cubicBezTo>
                  <a:cubicBezTo>
                    <a:pt x="884" y="632"/>
                    <a:pt x="884" y="632"/>
                    <a:pt x="901" y="580"/>
                  </a:cubicBezTo>
                  <a:cubicBezTo>
                    <a:pt x="903" y="573"/>
                    <a:pt x="902" y="565"/>
                    <a:pt x="897" y="559"/>
                  </a:cubicBezTo>
                  <a:close/>
                  <a:moveTo>
                    <a:pt x="538" y="205"/>
                  </a:moveTo>
                  <a:cubicBezTo>
                    <a:pt x="606" y="274"/>
                    <a:pt x="606" y="274"/>
                    <a:pt x="606" y="274"/>
                  </a:cubicBezTo>
                  <a:cubicBezTo>
                    <a:pt x="499" y="381"/>
                    <a:pt x="499" y="381"/>
                    <a:pt x="499" y="381"/>
                  </a:cubicBezTo>
                  <a:cubicBezTo>
                    <a:pt x="493" y="387"/>
                    <a:pt x="494" y="397"/>
                    <a:pt x="499" y="403"/>
                  </a:cubicBezTo>
                  <a:cubicBezTo>
                    <a:pt x="502" y="406"/>
                    <a:pt x="507" y="408"/>
                    <a:pt x="511" y="408"/>
                  </a:cubicBezTo>
                  <a:cubicBezTo>
                    <a:pt x="514" y="408"/>
                    <a:pt x="518" y="406"/>
                    <a:pt x="521" y="403"/>
                  </a:cubicBezTo>
                  <a:cubicBezTo>
                    <a:pt x="638" y="286"/>
                    <a:pt x="638" y="286"/>
                    <a:pt x="638" y="286"/>
                  </a:cubicBezTo>
                  <a:cubicBezTo>
                    <a:pt x="638" y="286"/>
                    <a:pt x="639" y="285"/>
                    <a:pt x="639" y="285"/>
                  </a:cubicBezTo>
                  <a:cubicBezTo>
                    <a:pt x="643" y="282"/>
                    <a:pt x="644" y="278"/>
                    <a:pt x="644" y="274"/>
                  </a:cubicBezTo>
                  <a:cubicBezTo>
                    <a:pt x="644" y="269"/>
                    <a:pt x="643" y="266"/>
                    <a:pt x="640" y="263"/>
                  </a:cubicBezTo>
                  <a:cubicBezTo>
                    <a:pt x="639" y="262"/>
                    <a:pt x="639" y="262"/>
                    <a:pt x="638" y="261"/>
                  </a:cubicBezTo>
                  <a:cubicBezTo>
                    <a:pt x="560" y="183"/>
                    <a:pt x="560" y="183"/>
                    <a:pt x="560" y="183"/>
                  </a:cubicBezTo>
                  <a:cubicBezTo>
                    <a:pt x="557" y="180"/>
                    <a:pt x="553" y="178"/>
                    <a:pt x="549" y="178"/>
                  </a:cubicBezTo>
                  <a:cubicBezTo>
                    <a:pt x="545" y="178"/>
                    <a:pt x="541" y="180"/>
                    <a:pt x="538" y="183"/>
                  </a:cubicBezTo>
                  <a:cubicBezTo>
                    <a:pt x="532" y="189"/>
                    <a:pt x="532" y="198"/>
                    <a:pt x="538" y="205"/>
                  </a:cubicBezTo>
                  <a:close/>
                  <a:moveTo>
                    <a:pt x="263" y="285"/>
                  </a:moveTo>
                  <a:cubicBezTo>
                    <a:pt x="264" y="286"/>
                    <a:pt x="264" y="286"/>
                    <a:pt x="264" y="286"/>
                  </a:cubicBezTo>
                  <a:cubicBezTo>
                    <a:pt x="343" y="365"/>
                    <a:pt x="343" y="365"/>
                    <a:pt x="343" y="365"/>
                  </a:cubicBezTo>
                  <a:cubicBezTo>
                    <a:pt x="343" y="365"/>
                    <a:pt x="343" y="365"/>
                    <a:pt x="343" y="366"/>
                  </a:cubicBezTo>
                  <a:cubicBezTo>
                    <a:pt x="346" y="368"/>
                    <a:pt x="350" y="369"/>
                    <a:pt x="354" y="369"/>
                  </a:cubicBezTo>
                  <a:cubicBezTo>
                    <a:pt x="358" y="369"/>
                    <a:pt x="362" y="368"/>
                    <a:pt x="365" y="365"/>
                  </a:cubicBezTo>
                  <a:cubicBezTo>
                    <a:pt x="368" y="362"/>
                    <a:pt x="370" y="358"/>
                    <a:pt x="369" y="353"/>
                  </a:cubicBezTo>
                  <a:cubicBezTo>
                    <a:pt x="369" y="349"/>
                    <a:pt x="368" y="345"/>
                    <a:pt x="365" y="343"/>
                  </a:cubicBezTo>
                  <a:cubicBezTo>
                    <a:pt x="296" y="274"/>
                    <a:pt x="296" y="274"/>
                    <a:pt x="296" y="274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406" y="164"/>
                    <a:pt x="408" y="160"/>
                    <a:pt x="408" y="156"/>
                  </a:cubicBezTo>
                  <a:cubicBezTo>
                    <a:pt x="408" y="152"/>
                    <a:pt x="406" y="147"/>
                    <a:pt x="403" y="144"/>
                  </a:cubicBezTo>
                  <a:cubicBezTo>
                    <a:pt x="397" y="139"/>
                    <a:pt x="387" y="138"/>
                    <a:pt x="381" y="144"/>
                  </a:cubicBezTo>
                  <a:cubicBezTo>
                    <a:pt x="264" y="262"/>
                    <a:pt x="264" y="262"/>
                    <a:pt x="264" y="262"/>
                  </a:cubicBezTo>
                  <a:cubicBezTo>
                    <a:pt x="264" y="262"/>
                    <a:pt x="264" y="262"/>
                    <a:pt x="263" y="262"/>
                  </a:cubicBezTo>
                  <a:cubicBezTo>
                    <a:pt x="263" y="263"/>
                    <a:pt x="263" y="263"/>
                    <a:pt x="263" y="263"/>
                  </a:cubicBezTo>
                  <a:cubicBezTo>
                    <a:pt x="260" y="266"/>
                    <a:pt x="259" y="270"/>
                    <a:pt x="259" y="274"/>
                  </a:cubicBezTo>
                  <a:cubicBezTo>
                    <a:pt x="259" y="278"/>
                    <a:pt x="260" y="282"/>
                    <a:pt x="263" y="285"/>
                  </a:cubicBezTo>
                  <a:cubicBezTo>
                    <a:pt x="263" y="285"/>
                    <a:pt x="263" y="285"/>
                    <a:pt x="263" y="285"/>
                  </a:cubicBezTo>
                  <a:close/>
                  <a:moveTo>
                    <a:pt x="375" y="418"/>
                  </a:moveTo>
                  <a:cubicBezTo>
                    <a:pt x="375" y="418"/>
                    <a:pt x="375" y="418"/>
                    <a:pt x="376" y="418"/>
                  </a:cubicBezTo>
                  <a:cubicBezTo>
                    <a:pt x="377" y="419"/>
                    <a:pt x="379" y="419"/>
                    <a:pt x="382" y="419"/>
                  </a:cubicBezTo>
                  <a:cubicBezTo>
                    <a:pt x="388" y="419"/>
                    <a:pt x="393" y="416"/>
                    <a:pt x="396" y="411"/>
                  </a:cubicBezTo>
                  <a:cubicBezTo>
                    <a:pt x="543" y="128"/>
                    <a:pt x="543" y="128"/>
                    <a:pt x="543" y="128"/>
                  </a:cubicBezTo>
                  <a:cubicBezTo>
                    <a:pt x="547" y="121"/>
                    <a:pt x="545" y="111"/>
                    <a:pt x="537" y="107"/>
                  </a:cubicBezTo>
                  <a:cubicBezTo>
                    <a:pt x="537" y="107"/>
                    <a:pt x="536" y="107"/>
                    <a:pt x="536" y="107"/>
                  </a:cubicBezTo>
                  <a:cubicBezTo>
                    <a:pt x="529" y="103"/>
                    <a:pt x="520" y="106"/>
                    <a:pt x="515" y="114"/>
                  </a:cubicBezTo>
                  <a:cubicBezTo>
                    <a:pt x="368" y="397"/>
                    <a:pt x="368" y="397"/>
                    <a:pt x="368" y="397"/>
                  </a:cubicBezTo>
                  <a:cubicBezTo>
                    <a:pt x="364" y="405"/>
                    <a:pt x="367" y="414"/>
                    <a:pt x="375" y="4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7D6B339-401D-45AA-9360-8BA02581EAB0}"/>
              </a:ext>
            </a:extLst>
          </p:cNvPr>
          <p:cNvGrpSpPr/>
          <p:nvPr/>
        </p:nvGrpSpPr>
        <p:grpSpPr>
          <a:xfrm>
            <a:off x="2708252" y="1328239"/>
            <a:ext cx="3348553" cy="3196281"/>
            <a:chOff x="1604382" y="1379404"/>
            <a:chExt cx="3348553" cy="3196281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F2A5777-A109-427B-AC33-30ADDE2D59E2}"/>
                </a:ext>
              </a:extLst>
            </p:cNvPr>
            <p:cNvCxnSpPr/>
            <p:nvPr/>
          </p:nvCxnSpPr>
          <p:spPr>
            <a:xfrm>
              <a:off x="1738183" y="1379404"/>
              <a:ext cx="0" cy="31962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823D32B9-F41B-494B-B8AA-95708DE2B5B1}"/>
                </a:ext>
              </a:extLst>
            </p:cNvPr>
            <p:cNvCxnSpPr/>
            <p:nvPr/>
          </p:nvCxnSpPr>
          <p:spPr>
            <a:xfrm>
              <a:off x="2765167" y="1379404"/>
              <a:ext cx="0" cy="31962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7417F48-A7BC-4553-8930-B0BDCD5D079B}"/>
                </a:ext>
              </a:extLst>
            </p:cNvPr>
            <p:cNvCxnSpPr/>
            <p:nvPr/>
          </p:nvCxnSpPr>
          <p:spPr>
            <a:xfrm>
              <a:off x="3792151" y="1379404"/>
              <a:ext cx="0" cy="31962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05A93CE-C140-4E63-A8A5-1B8D46445C28}"/>
                </a:ext>
              </a:extLst>
            </p:cNvPr>
            <p:cNvCxnSpPr/>
            <p:nvPr/>
          </p:nvCxnSpPr>
          <p:spPr>
            <a:xfrm>
              <a:off x="4819134" y="1379404"/>
              <a:ext cx="0" cy="31962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FD35F2E-4F08-4693-917F-5A4FBEE86401}"/>
                </a:ext>
              </a:extLst>
            </p:cNvPr>
            <p:cNvSpPr/>
            <p:nvPr/>
          </p:nvSpPr>
          <p:spPr>
            <a:xfrm>
              <a:off x="4685333" y="1513040"/>
              <a:ext cx="267602" cy="26760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6D8AB22-19BC-4232-B7D9-5DFFD144FE98}"/>
                </a:ext>
              </a:extLst>
            </p:cNvPr>
            <p:cNvSpPr/>
            <p:nvPr/>
          </p:nvSpPr>
          <p:spPr>
            <a:xfrm>
              <a:off x="4685333" y="2948418"/>
              <a:ext cx="267602" cy="26760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CAADAF4-F213-4208-B54A-A8565919AD07}"/>
                </a:ext>
              </a:extLst>
            </p:cNvPr>
            <p:cNvSpPr/>
            <p:nvPr/>
          </p:nvSpPr>
          <p:spPr>
            <a:xfrm>
              <a:off x="4685333" y="4195308"/>
              <a:ext cx="267602" cy="26760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B574531-0D1A-44BA-859C-89E8867C1654}"/>
                </a:ext>
              </a:extLst>
            </p:cNvPr>
            <p:cNvSpPr/>
            <p:nvPr/>
          </p:nvSpPr>
          <p:spPr>
            <a:xfrm>
              <a:off x="3658349" y="2170848"/>
              <a:ext cx="267602" cy="26760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F5F6438-37AB-4470-ADC7-515C36645C04}"/>
                </a:ext>
              </a:extLst>
            </p:cNvPr>
            <p:cNvSpPr/>
            <p:nvPr/>
          </p:nvSpPr>
          <p:spPr>
            <a:xfrm>
              <a:off x="2631368" y="1919208"/>
              <a:ext cx="267602" cy="2676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3D8063A-1724-4B36-BFA0-A63480A64151}"/>
                </a:ext>
              </a:extLst>
            </p:cNvPr>
            <p:cNvSpPr/>
            <p:nvPr/>
          </p:nvSpPr>
          <p:spPr>
            <a:xfrm>
              <a:off x="2631368" y="2463163"/>
              <a:ext cx="267602" cy="2676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A528376-595B-4DE3-B5A2-15C9BE252958}"/>
                </a:ext>
              </a:extLst>
            </p:cNvPr>
            <p:cNvSpPr/>
            <p:nvPr/>
          </p:nvSpPr>
          <p:spPr>
            <a:xfrm>
              <a:off x="2631368" y="3872492"/>
              <a:ext cx="267602" cy="2676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FA88018-19F1-44FD-AB62-275DE55C6A4E}"/>
                </a:ext>
              </a:extLst>
            </p:cNvPr>
            <p:cNvSpPr/>
            <p:nvPr/>
          </p:nvSpPr>
          <p:spPr>
            <a:xfrm>
              <a:off x="1604382" y="2709942"/>
              <a:ext cx="267602" cy="26760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31E9674C-8A19-46AB-B75C-3D54F7A1FE4A}"/>
                </a:ext>
              </a:extLst>
            </p:cNvPr>
            <p:cNvSpPr/>
            <p:nvPr/>
          </p:nvSpPr>
          <p:spPr>
            <a:xfrm>
              <a:off x="1604382" y="3155605"/>
              <a:ext cx="267602" cy="26760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3EF518D-F620-479B-A5F1-608D276B0079}"/>
                </a:ext>
              </a:extLst>
            </p:cNvPr>
            <p:cNvSpPr/>
            <p:nvPr/>
          </p:nvSpPr>
          <p:spPr>
            <a:xfrm>
              <a:off x="1604382" y="3601268"/>
              <a:ext cx="267602" cy="26760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</p:grp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F8A68E2-0E1B-46CC-BFA1-FC15BCE0FC57}"/>
              </a:ext>
            </a:extLst>
          </p:cNvPr>
          <p:cNvCxnSpPr>
            <a:cxnSpLocks/>
            <a:stCxn id="7" idx="2"/>
            <a:endCxn id="20" idx="6"/>
          </p:cNvCxnSpPr>
          <p:nvPr/>
        </p:nvCxnSpPr>
        <p:spPr>
          <a:xfrm flipH="1">
            <a:off x="4002840" y="1595676"/>
            <a:ext cx="1786363" cy="40616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FB4334F-E85D-481D-96F8-A8512ECF69FC}"/>
              </a:ext>
            </a:extLst>
          </p:cNvPr>
          <p:cNvCxnSpPr>
            <a:cxnSpLocks/>
            <a:stCxn id="7" idx="3"/>
            <a:endCxn id="19" idx="7"/>
          </p:cNvCxnSpPr>
          <p:nvPr/>
        </p:nvCxnSpPr>
        <p:spPr>
          <a:xfrm flipH="1">
            <a:off x="4990632" y="1690288"/>
            <a:ext cx="837760" cy="46858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7F3493AF-743F-4C4F-A243-A0B06285B4E4}"/>
              </a:ext>
            </a:extLst>
          </p:cNvPr>
          <p:cNvCxnSpPr>
            <a:cxnSpLocks/>
            <a:stCxn id="19" idx="5"/>
            <a:endCxn id="17" idx="1"/>
          </p:cNvCxnSpPr>
          <p:nvPr/>
        </p:nvCxnSpPr>
        <p:spPr>
          <a:xfrm>
            <a:off x="4990632" y="2348096"/>
            <a:ext cx="837760" cy="58834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F89E325-9F7E-422C-98BD-5FC2375EF423}"/>
              </a:ext>
            </a:extLst>
          </p:cNvPr>
          <p:cNvCxnSpPr>
            <a:cxnSpLocks/>
            <a:stCxn id="19" idx="2"/>
            <a:endCxn id="21" idx="6"/>
          </p:cNvCxnSpPr>
          <p:nvPr/>
        </p:nvCxnSpPr>
        <p:spPr>
          <a:xfrm flipH="1">
            <a:off x="4002840" y="2253484"/>
            <a:ext cx="759379" cy="2923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BDF181D-60C3-4619-AB69-F49CCDD154DD}"/>
              </a:ext>
            </a:extLst>
          </p:cNvPr>
          <p:cNvCxnSpPr>
            <a:cxnSpLocks/>
            <a:stCxn id="20" idx="4"/>
            <a:endCxn id="21" idx="0"/>
          </p:cNvCxnSpPr>
          <p:nvPr/>
        </p:nvCxnSpPr>
        <p:spPr>
          <a:xfrm>
            <a:off x="3869039" y="2135645"/>
            <a:ext cx="0" cy="27635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7C06FCE-1581-47F1-B01D-4617B681CF17}"/>
              </a:ext>
            </a:extLst>
          </p:cNvPr>
          <p:cNvCxnSpPr>
            <a:cxnSpLocks/>
            <a:stCxn id="21" idx="4"/>
            <a:endCxn id="22" idx="0"/>
          </p:cNvCxnSpPr>
          <p:nvPr/>
        </p:nvCxnSpPr>
        <p:spPr>
          <a:xfrm>
            <a:off x="3869039" y="2679600"/>
            <a:ext cx="0" cy="11417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2D0CE90-4F9F-4434-81DE-F245F34A8EB3}"/>
              </a:ext>
            </a:extLst>
          </p:cNvPr>
          <p:cNvCxnSpPr>
            <a:cxnSpLocks/>
            <a:stCxn id="24" idx="4"/>
            <a:endCxn id="25" idx="0"/>
          </p:cNvCxnSpPr>
          <p:nvPr/>
        </p:nvCxnSpPr>
        <p:spPr>
          <a:xfrm>
            <a:off x="2842053" y="2926379"/>
            <a:ext cx="0" cy="17806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775016A1-9FB0-4F33-8F52-6C9774AD8CC2}"/>
              </a:ext>
            </a:extLst>
          </p:cNvPr>
          <p:cNvCxnSpPr>
            <a:cxnSpLocks/>
            <a:stCxn id="25" idx="4"/>
            <a:endCxn id="26" idx="0"/>
          </p:cNvCxnSpPr>
          <p:nvPr/>
        </p:nvCxnSpPr>
        <p:spPr>
          <a:xfrm>
            <a:off x="2842053" y="3372042"/>
            <a:ext cx="0" cy="17806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4775B0A8-FE87-415D-B5AA-7F3F0A18D2BD}"/>
              </a:ext>
            </a:extLst>
          </p:cNvPr>
          <p:cNvCxnSpPr>
            <a:cxnSpLocks/>
            <a:stCxn id="21" idx="2"/>
            <a:endCxn id="24" idx="6"/>
          </p:cNvCxnSpPr>
          <p:nvPr/>
        </p:nvCxnSpPr>
        <p:spPr>
          <a:xfrm flipH="1">
            <a:off x="2975854" y="2545799"/>
            <a:ext cx="759384" cy="24677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5A4A9A6-60F9-4840-A670-37D221D31F2D}"/>
              </a:ext>
            </a:extLst>
          </p:cNvPr>
          <p:cNvCxnSpPr>
            <a:cxnSpLocks/>
            <a:stCxn id="26" idx="6"/>
            <a:endCxn id="22" idx="2"/>
          </p:cNvCxnSpPr>
          <p:nvPr/>
        </p:nvCxnSpPr>
        <p:spPr>
          <a:xfrm>
            <a:off x="2975854" y="3683904"/>
            <a:ext cx="759384" cy="2712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A631CA8-4F92-4A9A-B545-7556F2DC49A6}"/>
              </a:ext>
            </a:extLst>
          </p:cNvPr>
          <p:cNvCxnSpPr>
            <a:cxnSpLocks/>
            <a:stCxn id="22" idx="6"/>
            <a:endCxn id="18" idx="2"/>
          </p:cNvCxnSpPr>
          <p:nvPr/>
        </p:nvCxnSpPr>
        <p:spPr>
          <a:xfrm>
            <a:off x="4002840" y="3955128"/>
            <a:ext cx="1786363" cy="3228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406699F0-F5F9-45C3-8526-1A9E27AF1081}"/>
              </a:ext>
            </a:extLst>
          </p:cNvPr>
          <p:cNvSpPr txBox="1"/>
          <p:nvPr/>
        </p:nvSpPr>
        <p:spPr>
          <a:xfrm>
            <a:off x="2230053" y="1027374"/>
            <a:ext cx="1224000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>
                <a:latin typeface="+mn-lt"/>
              </a:rPr>
              <a:t>feature/fix/chang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FA961CF-0EA2-45FB-8E8F-E33829DBD230}"/>
              </a:ext>
            </a:extLst>
          </p:cNvPr>
          <p:cNvSpPr txBox="1"/>
          <p:nvPr/>
        </p:nvSpPr>
        <p:spPr>
          <a:xfrm>
            <a:off x="3592948" y="1027374"/>
            <a:ext cx="540000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>
                <a:latin typeface="+mn-lt"/>
              </a:rPr>
              <a:t>develop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7720167-30A4-4B81-AD74-F2CF7461E948}"/>
              </a:ext>
            </a:extLst>
          </p:cNvPr>
          <p:cNvSpPr txBox="1"/>
          <p:nvPr/>
        </p:nvSpPr>
        <p:spPr>
          <a:xfrm>
            <a:off x="4687820" y="1027374"/>
            <a:ext cx="540000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>
                <a:latin typeface="+mn-lt"/>
              </a:rPr>
              <a:t>hot-fix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F4E981D-4BF6-4D9E-A9C8-2DF2C1FB9B12}"/>
              </a:ext>
            </a:extLst>
          </p:cNvPr>
          <p:cNvSpPr txBox="1"/>
          <p:nvPr/>
        </p:nvSpPr>
        <p:spPr>
          <a:xfrm>
            <a:off x="5677136" y="1027374"/>
            <a:ext cx="540000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200">
                <a:latin typeface="+mn-lt"/>
              </a:rPr>
              <a:t>master</a:t>
            </a:r>
          </a:p>
        </p:txBody>
      </p:sp>
      <p:sp>
        <p:nvSpPr>
          <p:cNvPr id="67" name="Speech Bubble: Rectangle 66">
            <a:extLst>
              <a:ext uri="{FF2B5EF4-FFF2-40B4-BE49-F238E27FC236}">
                <a16:creationId xmlns:a16="http://schemas.microsoft.com/office/drawing/2014/main" id="{DD09CA3B-36B6-4895-98CA-784AF2C6D141}"/>
              </a:ext>
            </a:extLst>
          </p:cNvPr>
          <p:cNvSpPr/>
          <p:nvPr/>
        </p:nvSpPr>
        <p:spPr>
          <a:xfrm>
            <a:off x="162584" y="1824382"/>
            <a:ext cx="1729205" cy="429102"/>
          </a:xfrm>
          <a:prstGeom prst="wedgeRectCallout">
            <a:avLst>
              <a:gd name="adj1" fmla="val 138278"/>
              <a:gd name="adj2" fmla="val 10356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Git checkout –b fix/[id]_pipeline_issue</a:t>
            </a:r>
          </a:p>
        </p:txBody>
      </p:sp>
      <p:sp>
        <p:nvSpPr>
          <p:cNvPr id="68" name="Speech Bubble: Rectangle 67">
            <a:extLst>
              <a:ext uri="{FF2B5EF4-FFF2-40B4-BE49-F238E27FC236}">
                <a16:creationId xmlns:a16="http://schemas.microsoft.com/office/drawing/2014/main" id="{9B9CE559-FBD7-407F-B75E-C4A247905BBC}"/>
              </a:ext>
            </a:extLst>
          </p:cNvPr>
          <p:cNvSpPr/>
          <p:nvPr/>
        </p:nvSpPr>
        <p:spPr>
          <a:xfrm>
            <a:off x="114444" y="3220077"/>
            <a:ext cx="1729205" cy="808226"/>
          </a:xfrm>
          <a:prstGeom prst="wedgeRectCallout">
            <a:avLst>
              <a:gd name="adj1" fmla="val 104930"/>
              <a:gd name="adj2" fmla="val -7523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Fixed unhandled expectation pipeline issue (precheck error in build check)</a:t>
            </a:r>
          </a:p>
        </p:txBody>
      </p:sp>
      <p:sp>
        <p:nvSpPr>
          <p:cNvPr id="69" name="Speech Bubble: Rectangle 68">
            <a:extLst>
              <a:ext uri="{FF2B5EF4-FFF2-40B4-BE49-F238E27FC236}">
                <a16:creationId xmlns:a16="http://schemas.microsoft.com/office/drawing/2014/main" id="{B9FA4B9C-F04D-440C-B8A9-1A18570F4EE3}"/>
              </a:ext>
            </a:extLst>
          </p:cNvPr>
          <p:cNvSpPr/>
          <p:nvPr/>
        </p:nvSpPr>
        <p:spPr>
          <a:xfrm>
            <a:off x="6535977" y="1375536"/>
            <a:ext cx="976931" cy="267603"/>
          </a:xfrm>
          <a:prstGeom prst="wedgeRectCallout">
            <a:avLst>
              <a:gd name="adj1" fmla="val -85632"/>
              <a:gd name="adj2" fmla="val 2405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Tag 0.1.0</a:t>
            </a:r>
          </a:p>
        </p:txBody>
      </p:sp>
      <p:sp>
        <p:nvSpPr>
          <p:cNvPr id="70" name="Speech Bubble: Rectangle 69">
            <a:extLst>
              <a:ext uri="{FF2B5EF4-FFF2-40B4-BE49-F238E27FC236}">
                <a16:creationId xmlns:a16="http://schemas.microsoft.com/office/drawing/2014/main" id="{C8677491-2E6E-48FF-9D28-97054DB047E1}"/>
              </a:ext>
            </a:extLst>
          </p:cNvPr>
          <p:cNvSpPr/>
          <p:nvPr/>
        </p:nvSpPr>
        <p:spPr>
          <a:xfrm>
            <a:off x="6535977" y="2853650"/>
            <a:ext cx="976931" cy="267603"/>
          </a:xfrm>
          <a:prstGeom prst="wedgeRectCallout">
            <a:avLst>
              <a:gd name="adj1" fmla="val -85632"/>
              <a:gd name="adj2" fmla="val 2405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Tag 0.1.1</a:t>
            </a:r>
          </a:p>
        </p:txBody>
      </p:sp>
      <p:sp>
        <p:nvSpPr>
          <p:cNvPr id="73" name="Speech Bubble: Rectangle 72">
            <a:extLst>
              <a:ext uri="{FF2B5EF4-FFF2-40B4-BE49-F238E27FC236}">
                <a16:creationId xmlns:a16="http://schemas.microsoft.com/office/drawing/2014/main" id="{25CCB25A-030F-4FD7-8520-50AE6F6851D1}"/>
              </a:ext>
            </a:extLst>
          </p:cNvPr>
          <p:cNvSpPr/>
          <p:nvPr/>
        </p:nvSpPr>
        <p:spPr>
          <a:xfrm>
            <a:off x="6535977" y="4116192"/>
            <a:ext cx="976931" cy="267603"/>
          </a:xfrm>
          <a:prstGeom prst="wedgeRectCallout">
            <a:avLst>
              <a:gd name="adj1" fmla="val -85632"/>
              <a:gd name="adj2" fmla="val 2405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Tag 0.2.0</a:t>
            </a:r>
          </a:p>
        </p:txBody>
      </p:sp>
      <p:sp>
        <p:nvSpPr>
          <p:cNvPr id="74" name="Speech Bubble: Rectangle 73">
            <a:extLst>
              <a:ext uri="{FF2B5EF4-FFF2-40B4-BE49-F238E27FC236}">
                <a16:creationId xmlns:a16="http://schemas.microsoft.com/office/drawing/2014/main" id="{290A2ED0-0046-47B5-9E9F-5B1A29244D49}"/>
              </a:ext>
            </a:extLst>
          </p:cNvPr>
          <p:cNvSpPr/>
          <p:nvPr/>
        </p:nvSpPr>
        <p:spPr>
          <a:xfrm>
            <a:off x="6774935" y="2049006"/>
            <a:ext cx="1433884" cy="429102"/>
          </a:xfrm>
          <a:prstGeom prst="wedgeRectCallout">
            <a:avLst>
              <a:gd name="adj1" fmla="val -141366"/>
              <a:gd name="adj2" fmla="val -778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100">
                <a:solidFill>
                  <a:schemeClr val="bg1"/>
                </a:solidFill>
                <a:latin typeface="Trebuchet MS" panose="020B0603020202020204" pitchFamily="34" charset="0"/>
              </a:rPr>
              <a:t>Severe bug fix for production</a:t>
            </a:r>
          </a:p>
        </p:txBody>
      </p:sp>
    </p:spTree>
    <p:extLst>
      <p:ext uri="{BB962C8B-B14F-4D97-AF65-F5344CB8AC3E}">
        <p14:creationId xmlns:p14="http://schemas.microsoft.com/office/powerpoint/2010/main" val="398693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5ACF38D8-FBF0-FD7E-648E-3113EE0145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18" y="715429"/>
            <a:ext cx="7362881" cy="4078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/>
          <a:lstStyle/>
          <a:p>
            <a:r>
              <a:rPr lang="de-DE"/>
              <a:t>CI/CD </a:t>
            </a:r>
            <a:r>
              <a:rPr lang="de-DE" err="1"/>
              <a:t>as</a:t>
            </a:r>
            <a:r>
              <a:rPr lang="de-DE"/>
              <a:t> Workflow</a:t>
            </a:r>
            <a:endParaRPr lang="nb-NO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9A79C560-620D-49FB-A944-D19C4A8A4E49}"/>
              </a:ext>
            </a:extLst>
          </p:cNvPr>
          <p:cNvSpPr/>
          <p:nvPr/>
        </p:nvSpPr>
        <p:spPr>
          <a:xfrm>
            <a:off x="7357438" y="985215"/>
            <a:ext cx="1469570" cy="779826"/>
          </a:xfrm>
          <a:prstGeom prst="wedgeRectCallout">
            <a:avLst>
              <a:gd name="adj1" fmla="val -55676"/>
              <a:gd name="adj2" fmla="val 12785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3750" lvl="1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Trebuchet MS" panose="020B0603020202020204" pitchFamily="34" charset="0"/>
              </a:rPr>
              <a:t>Automated</a:t>
            </a:r>
          </a:p>
          <a:p>
            <a:pPr marL="393750" lvl="1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Trebuchet MS" panose="020B0603020202020204" pitchFamily="34" charset="0"/>
              </a:rPr>
              <a:t>Practical</a:t>
            </a:r>
          </a:p>
          <a:p>
            <a:pPr marL="393750" lvl="1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Trebuchet MS" panose="020B0603020202020204" pitchFamily="34" charset="0"/>
              </a:rPr>
              <a:t>Scalable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7F68CB12-59B9-4972-B0DF-DB0989C307BF}"/>
              </a:ext>
            </a:extLst>
          </p:cNvPr>
          <p:cNvSpPr/>
          <p:nvPr/>
        </p:nvSpPr>
        <p:spPr>
          <a:xfrm>
            <a:off x="4011906" y="357464"/>
            <a:ext cx="2390590" cy="779826"/>
          </a:xfrm>
          <a:prstGeom prst="wedgeRectCallout">
            <a:avLst>
              <a:gd name="adj1" fmla="val -53949"/>
              <a:gd name="adj2" fmla="val 8560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3750" lvl="1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Trebuchet MS" panose="020B0603020202020204" pitchFamily="34" charset="0"/>
              </a:rPr>
              <a:t>Frequent and small code updates</a:t>
            </a:r>
          </a:p>
          <a:p>
            <a:pPr marL="393750" lvl="1" indent="-28575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Trebuchet MS" panose="020B0603020202020204" pitchFamily="34" charset="0"/>
              </a:rPr>
              <a:t>Automated testing</a:t>
            </a:r>
          </a:p>
        </p:txBody>
      </p:sp>
      <p:sp>
        <p:nvSpPr>
          <p:cNvPr id="14" name="NavigationTriangle">
            <a:extLst>
              <a:ext uri="{FF2B5EF4-FFF2-40B4-BE49-F238E27FC236}">
                <a16:creationId xmlns:a16="http://schemas.microsoft.com/office/drawing/2014/main" id="{8F4834FA-584A-4364-A1E9-8B467F0C96C0}"/>
              </a:ext>
            </a:extLst>
          </p:cNvPr>
          <p:cNvSpPr/>
          <p:nvPr/>
        </p:nvSpPr>
        <p:spPr>
          <a:xfrm rot="16200000">
            <a:off x="8080517" y="-37923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274799C-88C4-4906-A3E8-0268CAF957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98692" y="53517"/>
            <a:ext cx="455613" cy="457200"/>
            <a:chOff x="5120" y="1668"/>
            <a:chExt cx="287" cy="288"/>
          </a:xfrm>
        </p:grpSpPr>
        <p:sp>
          <p:nvSpPr>
            <p:cNvPr id="16" name="AutoShape 49">
              <a:extLst>
                <a:ext uri="{FF2B5EF4-FFF2-40B4-BE49-F238E27FC236}">
                  <a16:creationId xmlns:a16="http://schemas.microsoft.com/office/drawing/2014/main" id="{B5039BCC-6854-4AA1-83E7-91D83A898C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0" y="1668"/>
              <a:ext cx="28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1">
              <a:extLst>
                <a:ext uri="{FF2B5EF4-FFF2-40B4-BE49-F238E27FC236}">
                  <a16:creationId xmlns:a16="http://schemas.microsoft.com/office/drawing/2014/main" id="{C8D3ADE3-DF4D-4D9B-8B69-109F2A60D6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6" y="1720"/>
              <a:ext cx="255" cy="184"/>
            </a:xfrm>
            <a:custGeom>
              <a:avLst/>
              <a:gdLst>
                <a:gd name="T0" fmla="*/ 816 w 903"/>
                <a:gd name="T1" fmla="*/ 525 h 649"/>
                <a:gd name="T2" fmla="*/ 839 w 903"/>
                <a:gd name="T3" fmla="*/ 22 h 649"/>
                <a:gd name="T4" fmla="*/ 86 w 903"/>
                <a:gd name="T5" fmla="*/ 0 h 649"/>
                <a:gd name="T6" fmla="*/ 64 w 903"/>
                <a:gd name="T7" fmla="*/ 502 h 649"/>
                <a:gd name="T8" fmla="*/ 116 w 903"/>
                <a:gd name="T9" fmla="*/ 70 h 649"/>
                <a:gd name="T10" fmla="*/ 776 w 903"/>
                <a:gd name="T11" fmla="*/ 59 h 649"/>
                <a:gd name="T12" fmla="*/ 787 w 903"/>
                <a:gd name="T13" fmla="*/ 455 h 649"/>
                <a:gd name="T14" fmla="*/ 127 w 903"/>
                <a:gd name="T15" fmla="*/ 465 h 649"/>
                <a:gd name="T16" fmla="*/ 116 w 903"/>
                <a:gd name="T17" fmla="*/ 70 h 649"/>
                <a:gd name="T18" fmla="*/ 879 w 903"/>
                <a:gd name="T19" fmla="*/ 550 h 649"/>
                <a:gd name="T20" fmla="*/ 549 w 903"/>
                <a:gd name="T21" fmla="*/ 565 h 649"/>
                <a:gd name="T22" fmla="*/ 332 w 903"/>
                <a:gd name="T23" fmla="*/ 550 h 649"/>
                <a:gd name="T24" fmla="*/ 6 w 903"/>
                <a:gd name="T25" fmla="*/ 559 h 649"/>
                <a:gd name="T26" fmla="*/ 18 w 903"/>
                <a:gd name="T27" fmla="*/ 632 h 649"/>
                <a:gd name="T28" fmla="*/ 863 w 903"/>
                <a:gd name="T29" fmla="*/ 649 h 649"/>
                <a:gd name="T30" fmla="*/ 901 w 903"/>
                <a:gd name="T31" fmla="*/ 580 h 649"/>
                <a:gd name="T32" fmla="*/ 538 w 903"/>
                <a:gd name="T33" fmla="*/ 205 h 649"/>
                <a:gd name="T34" fmla="*/ 499 w 903"/>
                <a:gd name="T35" fmla="*/ 381 h 649"/>
                <a:gd name="T36" fmla="*/ 511 w 903"/>
                <a:gd name="T37" fmla="*/ 408 h 649"/>
                <a:gd name="T38" fmla="*/ 638 w 903"/>
                <a:gd name="T39" fmla="*/ 286 h 649"/>
                <a:gd name="T40" fmla="*/ 644 w 903"/>
                <a:gd name="T41" fmla="*/ 274 h 649"/>
                <a:gd name="T42" fmla="*/ 638 w 903"/>
                <a:gd name="T43" fmla="*/ 261 h 649"/>
                <a:gd name="T44" fmla="*/ 549 w 903"/>
                <a:gd name="T45" fmla="*/ 178 h 649"/>
                <a:gd name="T46" fmla="*/ 538 w 903"/>
                <a:gd name="T47" fmla="*/ 205 h 649"/>
                <a:gd name="T48" fmla="*/ 264 w 903"/>
                <a:gd name="T49" fmla="*/ 286 h 649"/>
                <a:gd name="T50" fmla="*/ 343 w 903"/>
                <a:gd name="T51" fmla="*/ 366 h 649"/>
                <a:gd name="T52" fmla="*/ 365 w 903"/>
                <a:gd name="T53" fmla="*/ 365 h 649"/>
                <a:gd name="T54" fmla="*/ 365 w 903"/>
                <a:gd name="T55" fmla="*/ 343 h 649"/>
                <a:gd name="T56" fmla="*/ 403 w 903"/>
                <a:gd name="T57" fmla="*/ 167 h 649"/>
                <a:gd name="T58" fmla="*/ 403 w 903"/>
                <a:gd name="T59" fmla="*/ 144 h 649"/>
                <a:gd name="T60" fmla="*/ 264 w 903"/>
                <a:gd name="T61" fmla="*/ 262 h 649"/>
                <a:gd name="T62" fmla="*/ 263 w 903"/>
                <a:gd name="T63" fmla="*/ 263 h 649"/>
                <a:gd name="T64" fmla="*/ 263 w 903"/>
                <a:gd name="T65" fmla="*/ 285 h 649"/>
                <a:gd name="T66" fmla="*/ 375 w 903"/>
                <a:gd name="T67" fmla="*/ 418 h 649"/>
                <a:gd name="T68" fmla="*/ 382 w 903"/>
                <a:gd name="T69" fmla="*/ 419 h 649"/>
                <a:gd name="T70" fmla="*/ 543 w 903"/>
                <a:gd name="T71" fmla="*/ 128 h 649"/>
                <a:gd name="T72" fmla="*/ 536 w 903"/>
                <a:gd name="T73" fmla="*/ 107 h 649"/>
                <a:gd name="T74" fmla="*/ 368 w 903"/>
                <a:gd name="T75" fmla="*/ 39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649">
                  <a:moveTo>
                    <a:pt x="86" y="525"/>
                  </a:moveTo>
                  <a:cubicBezTo>
                    <a:pt x="816" y="525"/>
                    <a:pt x="816" y="525"/>
                    <a:pt x="816" y="525"/>
                  </a:cubicBezTo>
                  <a:cubicBezTo>
                    <a:pt x="829" y="525"/>
                    <a:pt x="839" y="515"/>
                    <a:pt x="839" y="502"/>
                  </a:cubicBezTo>
                  <a:cubicBezTo>
                    <a:pt x="839" y="22"/>
                    <a:pt x="839" y="22"/>
                    <a:pt x="839" y="22"/>
                  </a:cubicBezTo>
                  <a:cubicBezTo>
                    <a:pt x="839" y="10"/>
                    <a:pt x="829" y="0"/>
                    <a:pt x="81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64" y="10"/>
                    <a:pt x="64" y="22"/>
                  </a:cubicBezTo>
                  <a:cubicBezTo>
                    <a:pt x="64" y="502"/>
                    <a:pt x="64" y="502"/>
                    <a:pt x="64" y="502"/>
                  </a:cubicBezTo>
                  <a:cubicBezTo>
                    <a:pt x="64" y="515"/>
                    <a:pt x="74" y="525"/>
                    <a:pt x="86" y="525"/>
                  </a:cubicBezTo>
                  <a:close/>
                  <a:moveTo>
                    <a:pt x="116" y="70"/>
                  </a:moveTo>
                  <a:cubicBezTo>
                    <a:pt x="116" y="64"/>
                    <a:pt x="120" y="59"/>
                    <a:pt x="127" y="59"/>
                  </a:cubicBezTo>
                  <a:cubicBezTo>
                    <a:pt x="776" y="59"/>
                    <a:pt x="776" y="59"/>
                    <a:pt x="776" y="59"/>
                  </a:cubicBezTo>
                  <a:cubicBezTo>
                    <a:pt x="782" y="59"/>
                    <a:pt x="787" y="64"/>
                    <a:pt x="787" y="70"/>
                  </a:cubicBezTo>
                  <a:cubicBezTo>
                    <a:pt x="787" y="455"/>
                    <a:pt x="787" y="455"/>
                    <a:pt x="787" y="455"/>
                  </a:cubicBezTo>
                  <a:cubicBezTo>
                    <a:pt x="787" y="461"/>
                    <a:pt x="782" y="465"/>
                    <a:pt x="776" y="465"/>
                  </a:cubicBezTo>
                  <a:cubicBezTo>
                    <a:pt x="127" y="465"/>
                    <a:pt x="127" y="465"/>
                    <a:pt x="127" y="465"/>
                  </a:cubicBezTo>
                  <a:cubicBezTo>
                    <a:pt x="120" y="465"/>
                    <a:pt x="116" y="461"/>
                    <a:pt x="116" y="455"/>
                  </a:cubicBezTo>
                  <a:cubicBezTo>
                    <a:pt x="116" y="70"/>
                    <a:pt x="116" y="70"/>
                    <a:pt x="116" y="70"/>
                  </a:cubicBezTo>
                  <a:close/>
                  <a:moveTo>
                    <a:pt x="897" y="559"/>
                  </a:moveTo>
                  <a:cubicBezTo>
                    <a:pt x="893" y="554"/>
                    <a:pt x="887" y="550"/>
                    <a:pt x="879" y="550"/>
                  </a:cubicBezTo>
                  <a:cubicBezTo>
                    <a:pt x="879" y="550"/>
                    <a:pt x="879" y="550"/>
                    <a:pt x="571" y="550"/>
                  </a:cubicBezTo>
                  <a:cubicBezTo>
                    <a:pt x="562" y="550"/>
                    <a:pt x="552" y="557"/>
                    <a:pt x="549" y="565"/>
                  </a:cubicBezTo>
                  <a:cubicBezTo>
                    <a:pt x="549" y="565"/>
                    <a:pt x="549" y="565"/>
                    <a:pt x="353" y="565"/>
                  </a:cubicBezTo>
                  <a:cubicBezTo>
                    <a:pt x="350" y="557"/>
                    <a:pt x="341" y="550"/>
                    <a:pt x="332" y="550"/>
                  </a:cubicBezTo>
                  <a:cubicBezTo>
                    <a:pt x="332" y="550"/>
                    <a:pt x="332" y="550"/>
                    <a:pt x="23" y="550"/>
                  </a:cubicBezTo>
                  <a:cubicBezTo>
                    <a:pt x="16" y="550"/>
                    <a:pt x="10" y="554"/>
                    <a:pt x="6" y="559"/>
                  </a:cubicBezTo>
                  <a:cubicBezTo>
                    <a:pt x="1" y="565"/>
                    <a:pt x="0" y="573"/>
                    <a:pt x="2" y="580"/>
                  </a:cubicBezTo>
                  <a:cubicBezTo>
                    <a:pt x="2" y="580"/>
                    <a:pt x="2" y="580"/>
                    <a:pt x="18" y="632"/>
                  </a:cubicBezTo>
                  <a:cubicBezTo>
                    <a:pt x="21" y="642"/>
                    <a:pt x="31" y="649"/>
                    <a:pt x="40" y="649"/>
                  </a:cubicBezTo>
                  <a:cubicBezTo>
                    <a:pt x="40" y="649"/>
                    <a:pt x="40" y="649"/>
                    <a:pt x="863" y="649"/>
                  </a:cubicBezTo>
                  <a:cubicBezTo>
                    <a:pt x="872" y="649"/>
                    <a:pt x="881" y="642"/>
                    <a:pt x="884" y="632"/>
                  </a:cubicBezTo>
                  <a:cubicBezTo>
                    <a:pt x="884" y="632"/>
                    <a:pt x="884" y="632"/>
                    <a:pt x="901" y="580"/>
                  </a:cubicBezTo>
                  <a:cubicBezTo>
                    <a:pt x="903" y="573"/>
                    <a:pt x="902" y="565"/>
                    <a:pt x="897" y="559"/>
                  </a:cubicBezTo>
                  <a:close/>
                  <a:moveTo>
                    <a:pt x="538" y="205"/>
                  </a:moveTo>
                  <a:cubicBezTo>
                    <a:pt x="606" y="274"/>
                    <a:pt x="606" y="274"/>
                    <a:pt x="606" y="274"/>
                  </a:cubicBezTo>
                  <a:cubicBezTo>
                    <a:pt x="499" y="381"/>
                    <a:pt x="499" y="381"/>
                    <a:pt x="499" y="381"/>
                  </a:cubicBezTo>
                  <a:cubicBezTo>
                    <a:pt x="493" y="387"/>
                    <a:pt x="494" y="397"/>
                    <a:pt x="499" y="403"/>
                  </a:cubicBezTo>
                  <a:cubicBezTo>
                    <a:pt x="502" y="406"/>
                    <a:pt x="507" y="408"/>
                    <a:pt x="511" y="408"/>
                  </a:cubicBezTo>
                  <a:cubicBezTo>
                    <a:pt x="514" y="408"/>
                    <a:pt x="518" y="406"/>
                    <a:pt x="521" y="403"/>
                  </a:cubicBezTo>
                  <a:cubicBezTo>
                    <a:pt x="638" y="286"/>
                    <a:pt x="638" y="286"/>
                    <a:pt x="638" y="286"/>
                  </a:cubicBezTo>
                  <a:cubicBezTo>
                    <a:pt x="638" y="286"/>
                    <a:pt x="639" y="285"/>
                    <a:pt x="639" y="285"/>
                  </a:cubicBezTo>
                  <a:cubicBezTo>
                    <a:pt x="643" y="282"/>
                    <a:pt x="644" y="278"/>
                    <a:pt x="644" y="274"/>
                  </a:cubicBezTo>
                  <a:cubicBezTo>
                    <a:pt x="644" y="269"/>
                    <a:pt x="643" y="266"/>
                    <a:pt x="640" y="263"/>
                  </a:cubicBezTo>
                  <a:cubicBezTo>
                    <a:pt x="639" y="262"/>
                    <a:pt x="639" y="262"/>
                    <a:pt x="638" y="261"/>
                  </a:cubicBezTo>
                  <a:cubicBezTo>
                    <a:pt x="560" y="183"/>
                    <a:pt x="560" y="183"/>
                    <a:pt x="560" y="183"/>
                  </a:cubicBezTo>
                  <a:cubicBezTo>
                    <a:pt x="557" y="180"/>
                    <a:pt x="553" y="178"/>
                    <a:pt x="549" y="178"/>
                  </a:cubicBezTo>
                  <a:cubicBezTo>
                    <a:pt x="545" y="178"/>
                    <a:pt x="541" y="180"/>
                    <a:pt x="538" y="183"/>
                  </a:cubicBezTo>
                  <a:cubicBezTo>
                    <a:pt x="532" y="189"/>
                    <a:pt x="532" y="198"/>
                    <a:pt x="538" y="205"/>
                  </a:cubicBezTo>
                  <a:close/>
                  <a:moveTo>
                    <a:pt x="263" y="285"/>
                  </a:moveTo>
                  <a:cubicBezTo>
                    <a:pt x="264" y="286"/>
                    <a:pt x="264" y="286"/>
                    <a:pt x="264" y="286"/>
                  </a:cubicBezTo>
                  <a:cubicBezTo>
                    <a:pt x="343" y="365"/>
                    <a:pt x="343" y="365"/>
                    <a:pt x="343" y="365"/>
                  </a:cubicBezTo>
                  <a:cubicBezTo>
                    <a:pt x="343" y="365"/>
                    <a:pt x="343" y="365"/>
                    <a:pt x="343" y="366"/>
                  </a:cubicBezTo>
                  <a:cubicBezTo>
                    <a:pt x="346" y="368"/>
                    <a:pt x="350" y="369"/>
                    <a:pt x="354" y="369"/>
                  </a:cubicBezTo>
                  <a:cubicBezTo>
                    <a:pt x="358" y="369"/>
                    <a:pt x="362" y="368"/>
                    <a:pt x="365" y="365"/>
                  </a:cubicBezTo>
                  <a:cubicBezTo>
                    <a:pt x="368" y="362"/>
                    <a:pt x="370" y="358"/>
                    <a:pt x="369" y="353"/>
                  </a:cubicBezTo>
                  <a:cubicBezTo>
                    <a:pt x="369" y="349"/>
                    <a:pt x="368" y="345"/>
                    <a:pt x="365" y="343"/>
                  </a:cubicBezTo>
                  <a:cubicBezTo>
                    <a:pt x="296" y="274"/>
                    <a:pt x="296" y="274"/>
                    <a:pt x="296" y="274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406" y="164"/>
                    <a:pt x="408" y="160"/>
                    <a:pt x="408" y="156"/>
                  </a:cubicBezTo>
                  <a:cubicBezTo>
                    <a:pt x="408" y="152"/>
                    <a:pt x="406" y="147"/>
                    <a:pt x="403" y="144"/>
                  </a:cubicBezTo>
                  <a:cubicBezTo>
                    <a:pt x="397" y="139"/>
                    <a:pt x="387" y="138"/>
                    <a:pt x="381" y="144"/>
                  </a:cubicBezTo>
                  <a:cubicBezTo>
                    <a:pt x="264" y="262"/>
                    <a:pt x="264" y="262"/>
                    <a:pt x="264" y="262"/>
                  </a:cubicBezTo>
                  <a:cubicBezTo>
                    <a:pt x="264" y="262"/>
                    <a:pt x="264" y="262"/>
                    <a:pt x="263" y="262"/>
                  </a:cubicBezTo>
                  <a:cubicBezTo>
                    <a:pt x="263" y="263"/>
                    <a:pt x="263" y="263"/>
                    <a:pt x="263" y="263"/>
                  </a:cubicBezTo>
                  <a:cubicBezTo>
                    <a:pt x="260" y="266"/>
                    <a:pt x="259" y="270"/>
                    <a:pt x="259" y="274"/>
                  </a:cubicBezTo>
                  <a:cubicBezTo>
                    <a:pt x="259" y="278"/>
                    <a:pt x="260" y="282"/>
                    <a:pt x="263" y="285"/>
                  </a:cubicBezTo>
                  <a:cubicBezTo>
                    <a:pt x="263" y="285"/>
                    <a:pt x="263" y="285"/>
                    <a:pt x="263" y="285"/>
                  </a:cubicBezTo>
                  <a:close/>
                  <a:moveTo>
                    <a:pt x="375" y="418"/>
                  </a:moveTo>
                  <a:cubicBezTo>
                    <a:pt x="375" y="418"/>
                    <a:pt x="375" y="418"/>
                    <a:pt x="376" y="418"/>
                  </a:cubicBezTo>
                  <a:cubicBezTo>
                    <a:pt x="377" y="419"/>
                    <a:pt x="379" y="419"/>
                    <a:pt x="382" y="419"/>
                  </a:cubicBezTo>
                  <a:cubicBezTo>
                    <a:pt x="388" y="419"/>
                    <a:pt x="393" y="416"/>
                    <a:pt x="396" y="411"/>
                  </a:cubicBezTo>
                  <a:cubicBezTo>
                    <a:pt x="543" y="128"/>
                    <a:pt x="543" y="128"/>
                    <a:pt x="543" y="128"/>
                  </a:cubicBezTo>
                  <a:cubicBezTo>
                    <a:pt x="547" y="121"/>
                    <a:pt x="545" y="111"/>
                    <a:pt x="537" y="107"/>
                  </a:cubicBezTo>
                  <a:cubicBezTo>
                    <a:pt x="537" y="107"/>
                    <a:pt x="536" y="107"/>
                    <a:pt x="536" y="107"/>
                  </a:cubicBezTo>
                  <a:cubicBezTo>
                    <a:pt x="529" y="103"/>
                    <a:pt x="520" y="106"/>
                    <a:pt x="515" y="114"/>
                  </a:cubicBezTo>
                  <a:cubicBezTo>
                    <a:pt x="368" y="397"/>
                    <a:pt x="368" y="397"/>
                    <a:pt x="368" y="397"/>
                  </a:cubicBezTo>
                  <a:cubicBezTo>
                    <a:pt x="364" y="405"/>
                    <a:pt x="367" y="414"/>
                    <a:pt x="375" y="4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0840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DD88B07-03C4-475C-9F1D-6668B13F89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676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DD88B07-03C4-475C-9F1D-6668B13F8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337" y="229661"/>
            <a:ext cx="7891317" cy="380810"/>
          </a:xfrm>
        </p:spPr>
        <p:txBody>
          <a:bodyPr vert="horz"/>
          <a:lstStyle/>
          <a:p>
            <a:r>
              <a:rPr lang="de-DE">
                <a:cs typeface="Arial"/>
              </a:rPr>
              <a:t>Why is CI/CD the answer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470" y="456923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10AFD62-AF74-40B2-B85B-899D6E5242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6850" y="1573570"/>
            <a:ext cx="1946005" cy="225062"/>
          </a:xfrm>
        </p:spPr>
        <p:txBody>
          <a:bodyPr wrap="square">
            <a:spAutoFit/>
          </a:bodyPr>
          <a:lstStyle/>
          <a:p>
            <a:pPr>
              <a:lnSpc>
                <a:spcPct val="113999"/>
              </a:lnSpc>
            </a:pPr>
            <a:r>
              <a:rPr lang="de-DE"/>
              <a:t>Predictable deployment</a:t>
            </a:r>
            <a:endParaRPr lang="de-DE">
              <a:cs typeface="Arial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7274FC3-9F6C-4F46-B4C0-C09A799D1408}"/>
              </a:ext>
            </a:extLst>
          </p:cNvPr>
          <p:cNvSpPr>
            <a:spLocks noChangeAspect="1"/>
          </p:cNvSpPr>
          <p:nvPr/>
        </p:nvSpPr>
        <p:spPr>
          <a:xfrm>
            <a:off x="3751670" y="1822438"/>
            <a:ext cx="1640659" cy="1640659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/>
            <a:r>
              <a:rPr lang="en-US" sz="6000" b="1" kern="0">
                <a:solidFill>
                  <a:srgbClr val="295E7E">
                    <a:lumMod val="100000"/>
                  </a:srgbClr>
                </a:solidFill>
              </a:rPr>
              <a:t>?</a:t>
            </a:r>
            <a:br>
              <a:rPr lang="en-US" sz="1200" kern="0">
                <a:solidFill>
                  <a:srgbClr val="295E7E">
                    <a:lumMod val="100000"/>
                  </a:srgbClr>
                </a:solidFill>
              </a:rPr>
            </a:br>
            <a:r>
              <a:rPr lang="en-US" sz="1400" kern="0">
                <a:solidFill>
                  <a:schemeClr val="bg1">
                    <a:lumMod val="50000"/>
                  </a:schemeClr>
                </a:solidFill>
              </a:rPr>
              <a:t>Why the hassle?</a:t>
            </a:r>
            <a:endParaRPr lang="en-US" sz="120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318E377E-7951-4C9C-B452-9826EA406670}"/>
              </a:ext>
            </a:extLst>
          </p:cNvPr>
          <p:cNvSpPr txBox="1">
            <a:spLocks/>
          </p:cNvSpPr>
          <p:nvPr/>
        </p:nvSpPr>
        <p:spPr>
          <a:xfrm>
            <a:off x="2218450" y="4170828"/>
            <a:ext cx="1416907" cy="22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3999"/>
              </a:lnSpc>
            </a:pPr>
            <a:r>
              <a:rPr lang="en-US">
                <a:cs typeface="Arial"/>
              </a:rPr>
              <a:t>Facilitate testing</a:t>
            </a:r>
            <a:endParaRPr lang="en-US"/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50BC4AD3-ADB4-4C34-958A-F01529298C49}"/>
              </a:ext>
            </a:extLst>
          </p:cNvPr>
          <p:cNvSpPr txBox="1">
            <a:spLocks/>
          </p:cNvSpPr>
          <p:nvPr/>
        </p:nvSpPr>
        <p:spPr>
          <a:xfrm>
            <a:off x="6364389" y="2821972"/>
            <a:ext cx="1144698" cy="22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ncapsulation</a:t>
            </a:r>
          </a:p>
        </p:txBody>
      </p:sp>
      <p:sp>
        <p:nvSpPr>
          <p:cNvPr id="16" name="Inhaltsplatzhalter 1">
            <a:extLst>
              <a:ext uri="{FF2B5EF4-FFF2-40B4-BE49-F238E27FC236}">
                <a16:creationId xmlns:a16="http://schemas.microsoft.com/office/drawing/2014/main" id="{6C9AA982-3A00-4634-A47F-DE0F342513BB}"/>
              </a:ext>
            </a:extLst>
          </p:cNvPr>
          <p:cNvSpPr txBox="1">
            <a:spLocks/>
          </p:cNvSpPr>
          <p:nvPr/>
        </p:nvSpPr>
        <p:spPr>
          <a:xfrm>
            <a:off x="5610563" y="4203843"/>
            <a:ext cx="1710550" cy="22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de robustness</a:t>
            </a:r>
          </a:p>
        </p:txBody>
      </p:sp>
      <p:sp>
        <p:nvSpPr>
          <p:cNvPr id="17" name="Inhaltsplatzhalter 1">
            <a:extLst>
              <a:ext uri="{FF2B5EF4-FFF2-40B4-BE49-F238E27FC236}">
                <a16:creationId xmlns:a16="http://schemas.microsoft.com/office/drawing/2014/main" id="{421FA6BB-6763-466D-9EB9-A53819A1A219}"/>
              </a:ext>
            </a:extLst>
          </p:cNvPr>
          <p:cNvSpPr txBox="1">
            <a:spLocks/>
          </p:cNvSpPr>
          <p:nvPr/>
        </p:nvSpPr>
        <p:spPr>
          <a:xfrm>
            <a:off x="5238183" y="1538520"/>
            <a:ext cx="2052075" cy="22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treamline development</a:t>
            </a:r>
            <a:endParaRPr lang="en-US">
              <a:cs typeface="Arial"/>
            </a:endParaRPr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3D2A109F-5342-4E4A-BDCA-BA8299C8F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3D2A109F-5342-4E4A-BDCA-BA8299C8FC3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F52BC81E-99AD-428F-8533-615BB22DFF4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F52BC81E-99AD-428F-8533-615BB22DFF4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B238CA79-E9D2-4293-A52F-02A649355E54}"/>
              </a:ext>
            </a:extLst>
          </p:cNvPr>
          <p:cNvGrpSpPr>
            <a:grpSpLocks noChangeAspect="1"/>
          </p:cNvGrpSpPr>
          <p:nvPr/>
        </p:nvGrpSpPr>
        <p:grpSpPr>
          <a:xfrm>
            <a:off x="5878594" y="3480093"/>
            <a:ext cx="828492" cy="828492"/>
            <a:chOff x="5273675" y="2606675"/>
            <a:chExt cx="1644650" cy="1644650"/>
          </a:xfrm>
        </p:grpSpPr>
        <p:sp>
          <p:nvSpPr>
            <p:cNvPr id="27" name="AutoShape 121">
              <a:extLst>
                <a:ext uri="{FF2B5EF4-FFF2-40B4-BE49-F238E27FC236}">
                  <a16:creationId xmlns:a16="http://schemas.microsoft.com/office/drawing/2014/main" id="{74D8C33D-901C-4C08-A74D-4E3E4D009F5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AAE8AAD-AAAE-4B26-AF1D-F2EA0EB2A0C2}"/>
                </a:ext>
              </a:extLst>
            </p:cNvPr>
            <p:cNvGrpSpPr/>
            <p:nvPr/>
          </p:nvGrpSpPr>
          <p:grpSpPr>
            <a:xfrm>
              <a:off x="5613400" y="2879725"/>
              <a:ext cx="962025" cy="1096963"/>
              <a:chOff x="5613400" y="2879725"/>
              <a:chExt cx="962025" cy="1096963"/>
            </a:xfrm>
          </p:grpSpPr>
          <p:sp>
            <p:nvSpPr>
              <p:cNvPr id="29" name="Freeform 123">
                <a:extLst>
                  <a:ext uri="{FF2B5EF4-FFF2-40B4-BE49-F238E27FC236}">
                    <a16:creationId xmlns:a16="http://schemas.microsoft.com/office/drawing/2014/main" id="{114BC16A-12EB-4303-A46B-01097A842D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3400" y="2879725"/>
                <a:ext cx="962025" cy="1096963"/>
              </a:xfrm>
              <a:custGeom>
                <a:avLst/>
                <a:gdLst>
                  <a:gd name="T0" fmla="*/ 435 w 1346"/>
                  <a:gd name="T1" fmla="*/ 61 h 1536"/>
                  <a:gd name="T2" fmla="*/ 236 w 1346"/>
                  <a:gd name="T3" fmla="*/ 156 h 1536"/>
                  <a:gd name="T4" fmla="*/ 165 w 1346"/>
                  <a:gd name="T5" fmla="*/ 345 h 1536"/>
                  <a:gd name="T6" fmla="*/ 65 w 1346"/>
                  <a:gd name="T7" fmla="*/ 922 h 1536"/>
                  <a:gd name="T8" fmla="*/ 118 w 1346"/>
                  <a:gd name="T9" fmla="*/ 1343 h 1536"/>
                  <a:gd name="T10" fmla="*/ 225 w 1346"/>
                  <a:gd name="T11" fmla="*/ 1445 h 1536"/>
                  <a:gd name="T12" fmla="*/ 252 w 1346"/>
                  <a:gd name="T13" fmla="*/ 1446 h 1536"/>
                  <a:gd name="T14" fmla="*/ 318 w 1346"/>
                  <a:gd name="T15" fmla="*/ 1441 h 1536"/>
                  <a:gd name="T16" fmla="*/ 480 w 1346"/>
                  <a:gd name="T17" fmla="*/ 1465 h 1536"/>
                  <a:gd name="T18" fmla="*/ 690 w 1346"/>
                  <a:gd name="T19" fmla="*/ 1493 h 1536"/>
                  <a:gd name="T20" fmla="*/ 971 w 1346"/>
                  <a:gd name="T21" fmla="*/ 1449 h 1536"/>
                  <a:gd name="T22" fmla="*/ 1128 w 1346"/>
                  <a:gd name="T23" fmla="*/ 1416 h 1536"/>
                  <a:gd name="T24" fmla="*/ 1233 w 1346"/>
                  <a:gd name="T25" fmla="*/ 1403 h 1536"/>
                  <a:gd name="T26" fmla="*/ 1287 w 1346"/>
                  <a:gd name="T27" fmla="*/ 1388 h 1536"/>
                  <a:gd name="T28" fmla="*/ 1302 w 1346"/>
                  <a:gd name="T29" fmla="*/ 846 h 1536"/>
                  <a:gd name="T30" fmla="*/ 1156 w 1346"/>
                  <a:gd name="T31" fmla="*/ 752 h 1536"/>
                  <a:gd name="T32" fmla="*/ 965 w 1346"/>
                  <a:gd name="T33" fmla="*/ 862 h 1536"/>
                  <a:gd name="T34" fmla="*/ 628 w 1346"/>
                  <a:gd name="T35" fmla="*/ 875 h 1536"/>
                  <a:gd name="T36" fmla="*/ 510 w 1346"/>
                  <a:gd name="T37" fmla="*/ 715 h 1536"/>
                  <a:gd name="T38" fmla="*/ 459 w 1346"/>
                  <a:gd name="T39" fmla="*/ 639 h 1536"/>
                  <a:gd name="T40" fmla="*/ 455 w 1346"/>
                  <a:gd name="T41" fmla="*/ 412 h 1536"/>
                  <a:gd name="T42" fmla="*/ 510 w 1346"/>
                  <a:gd name="T43" fmla="*/ 400 h 1536"/>
                  <a:gd name="T44" fmla="*/ 579 w 1346"/>
                  <a:gd name="T45" fmla="*/ 409 h 1536"/>
                  <a:gd name="T46" fmla="*/ 676 w 1346"/>
                  <a:gd name="T47" fmla="*/ 316 h 1536"/>
                  <a:gd name="T48" fmla="*/ 695 w 1346"/>
                  <a:gd name="T49" fmla="*/ 278 h 1536"/>
                  <a:gd name="T50" fmla="*/ 624 w 1346"/>
                  <a:gd name="T51" fmla="*/ 112 h 1536"/>
                  <a:gd name="T52" fmla="*/ 497 w 1346"/>
                  <a:gd name="T53" fmla="*/ 43 h 1536"/>
                  <a:gd name="T54" fmla="*/ 615 w 1346"/>
                  <a:gd name="T55" fmla="*/ 50 h 1536"/>
                  <a:gd name="T56" fmla="*/ 718 w 1346"/>
                  <a:gd name="T57" fmla="*/ 135 h 1536"/>
                  <a:gd name="T58" fmla="*/ 727 w 1346"/>
                  <a:gd name="T59" fmla="*/ 307 h 1536"/>
                  <a:gd name="T60" fmla="*/ 696 w 1346"/>
                  <a:gd name="T61" fmla="*/ 393 h 1536"/>
                  <a:gd name="T62" fmla="*/ 553 w 1346"/>
                  <a:gd name="T63" fmla="*/ 449 h 1536"/>
                  <a:gd name="T64" fmla="*/ 497 w 1346"/>
                  <a:gd name="T65" fmla="*/ 444 h 1536"/>
                  <a:gd name="T66" fmla="*/ 495 w 1346"/>
                  <a:gd name="T67" fmla="*/ 615 h 1536"/>
                  <a:gd name="T68" fmla="*/ 542 w 1346"/>
                  <a:gd name="T69" fmla="*/ 687 h 1536"/>
                  <a:gd name="T70" fmla="*/ 808 w 1346"/>
                  <a:gd name="T71" fmla="*/ 796 h 1536"/>
                  <a:gd name="T72" fmla="*/ 948 w 1346"/>
                  <a:gd name="T73" fmla="*/ 809 h 1536"/>
                  <a:gd name="T74" fmla="*/ 1288 w 1346"/>
                  <a:gd name="T75" fmla="*/ 744 h 1536"/>
                  <a:gd name="T76" fmla="*/ 1346 w 1346"/>
                  <a:gd name="T77" fmla="*/ 1342 h 1536"/>
                  <a:gd name="T78" fmla="*/ 1247 w 1346"/>
                  <a:gd name="T79" fmla="*/ 1446 h 1536"/>
                  <a:gd name="T80" fmla="*/ 1214 w 1346"/>
                  <a:gd name="T81" fmla="*/ 1444 h 1536"/>
                  <a:gd name="T82" fmla="*/ 1088 w 1346"/>
                  <a:gd name="T83" fmla="*/ 1469 h 1536"/>
                  <a:gd name="T84" fmla="*/ 745 w 1346"/>
                  <a:gd name="T85" fmla="*/ 1533 h 1536"/>
                  <a:gd name="T86" fmla="*/ 513 w 1346"/>
                  <a:gd name="T87" fmla="*/ 1514 h 1536"/>
                  <a:gd name="T88" fmla="*/ 430 w 1346"/>
                  <a:gd name="T89" fmla="*/ 1499 h 1536"/>
                  <a:gd name="T90" fmla="*/ 282 w 1346"/>
                  <a:gd name="T91" fmla="*/ 1487 h 1536"/>
                  <a:gd name="T92" fmla="*/ 229 w 1346"/>
                  <a:gd name="T93" fmla="*/ 1488 h 1536"/>
                  <a:gd name="T94" fmla="*/ 115 w 1346"/>
                  <a:gd name="T95" fmla="*/ 1451 h 1536"/>
                  <a:gd name="T96" fmla="*/ 54 w 1346"/>
                  <a:gd name="T97" fmla="*/ 1259 h 1536"/>
                  <a:gd name="T98" fmla="*/ 24 w 1346"/>
                  <a:gd name="T99" fmla="*/ 912 h 1536"/>
                  <a:gd name="T100" fmla="*/ 122 w 1346"/>
                  <a:gd name="T101" fmla="*/ 338 h 1536"/>
                  <a:gd name="T102" fmla="*/ 203 w 1346"/>
                  <a:gd name="T103" fmla="*/ 128 h 1536"/>
                  <a:gd name="T104" fmla="*/ 414 w 1346"/>
                  <a:gd name="T105" fmla="*/ 23 h 1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46" h="1536">
                    <a:moveTo>
                      <a:pt x="497" y="43"/>
                    </a:moveTo>
                    <a:cubicBezTo>
                      <a:pt x="476" y="43"/>
                      <a:pt x="456" y="49"/>
                      <a:pt x="435" y="61"/>
                    </a:cubicBezTo>
                    <a:cubicBezTo>
                      <a:pt x="419" y="69"/>
                      <a:pt x="399" y="76"/>
                      <a:pt x="373" y="81"/>
                    </a:cubicBezTo>
                    <a:cubicBezTo>
                      <a:pt x="316" y="91"/>
                      <a:pt x="270" y="116"/>
                      <a:pt x="236" y="156"/>
                    </a:cubicBezTo>
                    <a:cubicBezTo>
                      <a:pt x="207" y="190"/>
                      <a:pt x="187" y="234"/>
                      <a:pt x="175" y="291"/>
                    </a:cubicBezTo>
                    <a:cubicBezTo>
                      <a:pt x="171" y="311"/>
                      <a:pt x="168" y="329"/>
                      <a:pt x="165" y="345"/>
                    </a:cubicBezTo>
                    <a:cubicBezTo>
                      <a:pt x="153" y="414"/>
                      <a:pt x="142" y="483"/>
                      <a:pt x="132" y="549"/>
                    </a:cubicBezTo>
                    <a:cubicBezTo>
                      <a:pt x="114" y="672"/>
                      <a:pt x="95" y="800"/>
                      <a:pt x="65" y="922"/>
                    </a:cubicBezTo>
                    <a:cubicBezTo>
                      <a:pt x="40" y="1024"/>
                      <a:pt x="26" y="1133"/>
                      <a:pt x="90" y="1236"/>
                    </a:cubicBezTo>
                    <a:cubicBezTo>
                      <a:pt x="110" y="1266"/>
                      <a:pt x="115" y="1300"/>
                      <a:pt x="118" y="1343"/>
                    </a:cubicBezTo>
                    <a:cubicBezTo>
                      <a:pt x="121" y="1374"/>
                      <a:pt x="124" y="1401"/>
                      <a:pt x="146" y="1421"/>
                    </a:cubicBezTo>
                    <a:cubicBezTo>
                      <a:pt x="167" y="1441"/>
                      <a:pt x="194" y="1444"/>
                      <a:pt x="225" y="1445"/>
                    </a:cubicBezTo>
                    <a:cubicBezTo>
                      <a:pt x="227" y="1445"/>
                      <a:pt x="229" y="1445"/>
                      <a:pt x="232" y="1446"/>
                    </a:cubicBezTo>
                    <a:cubicBezTo>
                      <a:pt x="238" y="1446"/>
                      <a:pt x="245" y="1446"/>
                      <a:pt x="252" y="1446"/>
                    </a:cubicBezTo>
                    <a:cubicBezTo>
                      <a:pt x="260" y="1446"/>
                      <a:pt x="267" y="1446"/>
                      <a:pt x="274" y="1445"/>
                    </a:cubicBezTo>
                    <a:cubicBezTo>
                      <a:pt x="288" y="1442"/>
                      <a:pt x="303" y="1441"/>
                      <a:pt x="318" y="1441"/>
                    </a:cubicBezTo>
                    <a:cubicBezTo>
                      <a:pt x="357" y="1441"/>
                      <a:pt x="397" y="1449"/>
                      <a:pt x="438" y="1457"/>
                    </a:cubicBezTo>
                    <a:cubicBezTo>
                      <a:pt x="452" y="1459"/>
                      <a:pt x="466" y="1462"/>
                      <a:pt x="480" y="1465"/>
                    </a:cubicBezTo>
                    <a:cubicBezTo>
                      <a:pt x="494" y="1467"/>
                      <a:pt x="508" y="1470"/>
                      <a:pt x="521" y="1472"/>
                    </a:cubicBezTo>
                    <a:cubicBezTo>
                      <a:pt x="575" y="1482"/>
                      <a:pt x="631" y="1493"/>
                      <a:pt x="690" y="1493"/>
                    </a:cubicBezTo>
                    <a:cubicBezTo>
                      <a:pt x="707" y="1493"/>
                      <a:pt x="724" y="1492"/>
                      <a:pt x="740" y="1490"/>
                    </a:cubicBezTo>
                    <a:cubicBezTo>
                      <a:pt x="819" y="1481"/>
                      <a:pt x="896" y="1465"/>
                      <a:pt x="971" y="1449"/>
                    </a:cubicBezTo>
                    <a:cubicBezTo>
                      <a:pt x="1007" y="1441"/>
                      <a:pt x="1043" y="1434"/>
                      <a:pt x="1080" y="1427"/>
                    </a:cubicBezTo>
                    <a:cubicBezTo>
                      <a:pt x="1097" y="1424"/>
                      <a:pt x="1113" y="1420"/>
                      <a:pt x="1128" y="1416"/>
                    </a:cubicBezTo>
                    <a:cubicBezTo>
                      <a:pt x="1158" y="1408"/>
                      <a:pt x="1187" y="1401"/>
                      <a:pt x="1214" y="1401"/>
                    </a:cubicBezTo>
                    <a:cubicBezTo>
                      <a:pt x="1220" y="1401"/>
                      <a:pt x="1227" y="1402"/>
                      <a:pt x="1233" y="1403"/>
                    </a:cubicBezTo>
                    <a:cubicBezTo>
                      <a:pt x="1238" y="1403"/>
                      <a:pt x="1243" y="1404"/>
                      <a:pt x="1247" y="1404"/>
                    </a:cubicBezTo>
                    <a:cubicBezTo>
                      <a:pt x="1268" y="1404"/>
                      <a:pt x="1280" y="1395"/>
                      <a:pt x="1287" y="1388"/>
                    </a:cubicBezTo>
                    <a:cubicBezTo>
                      <a:pt x="1303" y="1372"/>
                      <a:pt x="1303" y="1352"/>
                      <a:pt x="1303" y="1342"/>
                    </a:cubicBezTo>
                    <a:cubicBezTo>
                      <a:pt x="1302" y="1173"/>
                      <a:pt x="1302" y="1003"/>
                      <a:pt x="1302" y="846"/>
                    </a:cubicBezTo>
                    <a:cubicBezTo>
                      <a:pt x="1302" y="835"/>
                      <a:pt x="1302" y="801"/>
                      <a:pt x="1267" y="782"/>
                    </a:cubicBezTo>
                    <a:cubicBezTo>
                      <a:pt x="1233" y="762"/>
                      <a:pt x="1194" y="752"/>
                      <a:pt x="1156" y="752"/>
                    </a:cubicBezTo>
                    <a:cubicBezTo>
                      <a:pt x="1089" y="752"/>
                      <a:pt x="1024" y="783"/>
                      <a:pt x="981" y="836"/>
                    </a:cubicBezTo>
                    <a:cubicBezTo>
                      <a:pt x="976" y="842"/>
                      <a:pt x="969" y="851"/>
                      <a:pt x="965" y="862"/>
                    </a:cubicBezTo>
                    <a:cubicBezTo>
                      <a:pt x="914" y="847"/>
                      <a:pt x="860" y="838"/>
                      <a:pt x="808" y="838"/>
                    </a:cubicBezTo>
                    <a:cubicBezTo>
                      <a:pt x="743" y="838"/>
                      <a:pt x="683" y="851"/>
                      <a:pt x="628" y="875"/>
                    </a:cubicBezTo>
                    <a:cubicBezTo>
                      <a:pt x="611" y="882"/>
                      <a:pt x="595" y="891"/>
                      <a:pt x="580" y="900"/>
                    </a:cubicBezTo>
                    <a:cubicBezTo>
                      <a:pt x="574" y="837"/>
                      <a:pt x="559" y="771"/>
                      <a:pt x="510" y="715"/>
                    </a:cubicBezTo>
                    <a:cubicBezTo>
                      <a:pt x="498" y="701"/>
                      <a:pt x="488" y="685"/>
                      <a:pt x="477" y="667"/>
                    </a:cubicBezTo>
                    <a:cubicBezTo>
                      <a:pt x="471" y="658"/>
                      <a:pt x="466" y="648"/>
                      <a:pt x="459" y="639"/>
                    </a:cubicBezTo>
                    <a:cubicBezTo>
                      <a:pt x="447" y="620"/>
                      <a:pt x="442" y="599"/>
                      <a:pt x="445" y="575"/>
                    </a:cubicBezTo>
                    <a:cubicBezTo>
                      <a:pt x="451" y="524"/>
                      <a:pt x="454" y="471"/>
                      <a:pt x="455" y="412"/>
                    </a:cubicBezTo>
                    <a:cubicBezTo>
                      <a:pt x="460" y="411"/>
                      <a:pt x="466" y="409"/>
                      <a:pt x="471" y="407"/>
                    </a:cubicBezTo>
                    <a:cubicBezTo>
                      <a:pt x="483" y="402"/>
                      <a:pt x="496" y="400"/>
                      <a:pt x="510" y="400"/>
                    </a:cubicBezTo>
                    <a:cubicBezTo>
                      <a:pt x="525" y="400"/>
                      <a:pt x="541" y="402"/>
                      <a:pt x="564" y="407"/>
                    </a:cubicBezTo>
                    <a:cubicBezTo>
                      <a:pt x="568" y="409"/>
                      <a:pt x="573" y="409"/>
                      <a:pt x="579" y="409"/>
                    </a:cubicBezTo>
                    <a:cubicBezTo>
                      <a:pt x="610" y="409"/>
                      <a:pt x="645" y="387"/>
                      <a:pt x="662" y="366"/>
                    </a:cubicBezTo>
                    <a:cubicBezTo>
                      <a:pt x="680" y="345"/>
                      <a:pt x="678" y="325"/>
                      <a:pt x="676" y="316"/>
                    </a:cubicBezTo>
                    <a:cubicBezTo>
                      <a:pt x="674" y="306"/>
                      <a:pt x="677" y="301"/>
                      <a:pt x="693" y="280"/>
                    </a:cubicBezTo>
                    <a:cubicBezTo>
                      <a:pt x="693" y="280"/>
                      <a:pt x="693" y="280"/>
                      <a:pt x="695" y="278"/>
                    </a:cubicBezTo>
                    <a:cubicBezTo>
                      <a:pt x="725" y="241"/>
                      <a:pt x="722" y="199"/>
                      <a:pt x="688" y="165"/>
                    </a:cubicBezTo>
                    <a:cubicBezTo>
                      <a:pt x="667" y="145"/>
                      <a:pt x="645" y="128"/>
                      <a:pt x="624" y="112"/>
                    </a:cubicBezTo>
                    <a:cubicBezTo>
                      <a:pt x="611" y="102"/>
                      <a:pt x="599" y="92"/>
                      <a:pt x="587" y="82"/>
                    </a:cubicBezTo>
                    <a:cubicBezTo>
                      <a:pt x="568" y="65"/>
                      <a:pt x="537" y="43"/>
                      <a:pt x="497" y="43"/>
                    </a:cubicBezTo>
                    <a:close/>
                    <a:moveTo>
                      <a:pt x="497" y="0"/>
                    </a:moveTo>
                    <a:cubicBezTo>
                      <a:pt x="558" y="0"/>
                      <a:pt x="601" y="38"/>
                      <a:pt x="615" y="50"/>
                    </a:cubicBezTo>
                    <a:cubicBezTo>
                      <a:pt x="626" y="59"/>
                      <a:pt x="638" y="68"/>
                      <a:pt x="650" y="78"/>
                    </a:cubicBezTo>
                    <a:cubicBezTo>
                      <a:pt x="672" y="95"/>
                      <a:pt x="696" y="113"/>
                      <a:pt x="718" y="135"/>
                    </a:cubicBezTo>
                    <a:cubicBezTo>
                      <a:pt x="768" y="185"/>
                      <a:pt x="772" y="250"/>
                      <a:pt x="728" y="305"/>
                    </a:cubicBezTo>
                    <a:cubicBezTo>
                      <a:pt x="728" y="305"/>
                      <a:pt x="728" y="305"/>
                      <a:pt x="727" y="307"/>
                    </a:cubicBezTo>
                    <a:cubicBezTo>
                      <a:pt x="723" y="311"/>
                      <a:pt x="721" y="314"/>
                      <a:pt x="719" y="316"/>
                    </a:cubicBezTo>
                    <a:cubicBezTo>
                      <a:pt x="722" y="335"/>
                      <a:pt x="720" y="363"/>
                      <a:pt x="696" y="393"/>
                    </a:cubicBezTo>
                    <a:cubicBezTo>
                      <a:pt x="672" y="422"/>
                      <a:pt x="625" y="452"/>
                      <a:pt x="579" y="452"/>
                    </a:cubicBezTo>
                    <a:cubicBezTo>
                      <a:pt x="570" y="452"/>
                      <a:pt x="562" y="451"/>
                      <a:pt x="553" y="449"/>
                    </a:cubicBezTo>
                    <a:cubicBezTo>
                      <a:pt x="535" y="444"/>
                      <a:pt x="521" y="442"/>
                      <a:pt x="510" y="442"/>
                    </a:cubicBezTo>
                    <a:cubicBezTo>
                      <a:pt x="505" y="442"/>
                      <a:pt x="501" y="443"/>
                      <a:pt x="497" y="444"/>
                    </a:cubicBezTo>
                    <a:cubicBezTo>
                      <a:pt x="496" y="492"/>
                      <a:pt x="493" y="537"/>
                      <a:pt x="488" y="580"/>
                    </a:cubicBezTo>
                    <a:cubicBezTo>
                      <a:pt x="486" y="594"/>
                      <a:pt x="488" y="605"/>
                      <a:pt x="495" y="615"/>
                    </a:cubicBezTo>
                    <a:cubicBezTo>
                      <a:pt x="502" y="625"/>
                      <a:pt x="508" y="635"/>
                      <a:pt x="514" y="645"/>
                    </a:cubicBezTo>
                    <a:cubicBezTo>
                      <a:pt x="523" y="661"/>
                      <a:pt x="533" y="676"/>
                      <a:pt x="542" y="687"/>
                    </a:cubicBezTo>
                    <a:cubicBezTo>
                      <a:pt x="583" y="734"/>
                      <a:pt x="603" y="786"/>
                      <a:pt x="614" y="835"/>
                    </a:cubicBezTo>
                    <a:cubicBezTo>
                      <a:pt x="672" y="809"/>
                      <a:pt x="738" y="796"/>
                      <a:pt x="808" y="796"/>
                    </a:cubicBezTo>
                    <a:cubicBezTo>
                      <a:pt x="853" y="796"/>
                      <a:pt x="900" y="801"/>
                      <a:pt x="945" y="812"/>
                    </a:cubicBezTo>
                    <a:cubicBezTo>
                      <a:pt x="946" y="811"/>
                      <a:pt x="947" y="810"/>
                      <a:pt x="948" y="809"/>
                    </a:cubicBezTo>
                    <a:cubicBezTo>
                      <a:pt x="1000" y="746"/>
                      <a:pt x="1076" y="709"/>
                      <a:pt x="1156" y="709"/>
                    </a:cubicBezTo>
                    <a:cubicBezTo>
                      <a:pt x="1202" y="709"/>
                      <a:pt x="1247" y="721"/>
                      <a:pt x="1288" y="744"/>
                    </a:cubicBezTo>
                    <a:cubicBezTo>
                      <a:pt x="1314" y="759"/>
                      <a:pt x="1345" y="788"/>
                      <a:pt x="1345" y="846"/>
                    </a:cubicBezTo>
                    <a:cubicBezTo>
                      <a:pt x="1345" y="1003"/>
                      <a:pt x="1345" y="1173"/>
                      <a:pt x="1346" y="1342"/>
                    </a:cubicBezTo>
                    <a:cubicBezTo>
                      <a:pt x="1346" y="1355"/>
                      <a:pt x="1346" y="1390"/>
                      <a:pt x="1317" y="1419"/>
                    </a:cubicBezTo>
                    <a:cubicBezTo>
                      <a:pt x="1299" y="1437"/>
                      <a:pt x="1275" y="1446"/>
                      <a:pt x="1247" y="1446"/>
                    </a:cubicBezTo>
                    <a:cubicBezTo>
                      <a:pt x="1241" y="1446"/>
                      <a:pt x="1234" y="1446"/>
                      <a:pt x="1227" y="1445"/>
                    </a:cubicBezTo>
                    <a:cubicBezTo>
                      <a:pt x="1223" y="1444"/>
                      <a:pt x="1218" y="1444"/>
                      <a:pt x="1214" y="1444"/>
                    </a:cubicBezTo>
                    <a:cubicBezTo>
                      <a:pt x="1192" y="1444"/>
                      <a:pt x="1166" y="1451"/>
                      <a:pt x="1139" y="1457"/>
                    </a:cubicBezTo>
                    <a:cubicBezTo>
                      <a:pt x="1123" y="1461"/>
                      <a:pt x="1106" y="1465"/>
                      <a:pt x="1088" y="1469"/>
                    </a:cubicBezTo>
                    <a:cubicBezTo>
                      <a:pt x="1053" y="1475"/>
                      <a:pt x="1016" y="1483"/>
                      <a:pt x="981" y="1491"/>
                    </a:cubicBezTo>
                    <a:cubicBezTo>
                      <a:pt x="904" y="1507"/>
                      <a:pt x="826" y="1523"/>
                      <a:pt x="745" y="1533"/>
                    </a:cubicBezTo>
                    <a:cubicBezTo>
                      <a:pt x="727" y="1535"/>
                      <a:pt x="709" y="1536"/>
                      <a:pt x="690" y="1536"/>
                    </a:cubicBezTo>
                    <a:cubicBezTo>
                      <a:pt x="627" y="1536"/>
                      <a:pt x="569" y="1525"/>
                      <a:pt x="513" y="1514"/>
                    </a:cubicBezTo>
                    <a:cubicBezTo>
                      <a:pt x="500" y="1512"/>
                      <a:pt x="486" y="1509"/>
                      <a:pt x="473" y="1507"/>
                    </a:cubicBezTo>
                    <a:cubicBezTo>
                      <a:pt x="458" y="1504"/>
                      <a:pt x="444" y="1501"/>
                      <a:pt x="430" y="1499"/>
                    </a:cubicBezTo>
                    <a:cubicBezTo>
                      <a:pt x="390" y="1491"/>
                      <a:pt x="353" y="1484"/>
                      <a:pt x="318" y="1484"/>
                    </a:cubicBezTo>
                    <a:cubicBezTo>
                      <a:pt x="305" y="1484"/>
                      <a:pt x="293" y="1485"/>
                      <a:pt x="282" y="1487"/>
                    </a:cubicBezTo>
                    <a:cubicBezTo>
                      <a:pt x="272" y="1488"/>
                      <a:pt x="263" y="1489"/>
                      <a:pt x="252" y="1489"/>
                    </a:cubicBezTo>
                    <a:cubicBezTo>
                      <a:pt x="243" y="1489"/>
                      <a:pt x="235" y="1489"/>
                      <a:pt x="229" y="1488"/>
                    </a:cubicBezTo>
                    <a:cubicBezTo>
                      <a:pt x="227" y="1488"/>
                      <a:pt x="225" y="1488"/>
                      <a:pt x="223" y="1488"/>
                    </a:cubicBezTo>
                    <a:cubicBezTo>
                      <a:pt x="193" y="1486"/>
                      <a:pt x="149" y="1484"/>
                      <a:pt x="115" y="1451"/>
                    </a:cubicBezTo>
                    <a:cubicBezTo>
                      <a:pt x="81" y="1418"/>
                      <a:pt x="78" y="1375"/>
                      <a:pt x="76" y="1346"/>
                    </a:cubicBezTo>
                    <a:cubicBezTo>
                      <a:pt x="73" y="1310"/>
                      <a:pt x="69" y="1281"/>
                      <a:pt x="54" y="1259"/>
                    </a:cubicBezTo>
                    <a:cubicBezTo>
                      <a:pt x="21" y="1205"/>
                      <a:pt x="3" y="1146"/>
                      <a:pt x="2" y="1080"/>
                    </a:cubicBezTo>
                    <a:cubicBezTo>
                      <a:pt x="0" y="1018"/>
                      <a:pt x="13" y="958"/>
                      <a:pt x="24" y="912"/>
                    </a:cubicBezTo>
                    <a:cubicBezTo>
                      <a:pt x="53" y="791"/>
                      <a:pt x="72" y="665"/>
                      <a:pt x="90" y="543"/>
                    </a:cubicBezTo>
                    <a:cubicBezTo>
                      <a:pt x="100" y="476"/>
                      <a:pt x="110" y="407"/>
                      <a:pt x="122" y="338"/>
                    </a:cubicBezTo>
                    <a:cubicBezTo>
                      <a:pt x="125" y="321"/>
                      <a:pt x="128" y="303"/>
                      <a:pt x="133" y="282"/>
                    </a:cubicBezTo>
                    <a:cubicBezTo>
                      <a:pt x="146" y="218"/>
                      <a:pt x="169" y="168"/>
                      <a:pt x="203" y="128"/>
                    </a:cubicBezTo>
                    <a:cubicBezTo>
                      <a:pt x="244" y="81"/>
                      <a:pt x="298" y="51"/>
                      <a:pt x="365" y="38"/>
                    </a:cubicBezTo>
                    <a:cubicBezTo>
                      <a:pt x="386" y="35"/>
                      <a:pt x="403" y="29"/>
                      <a:pt x="414" y="23"/>
                    </a:cubicBezTo>
                    <a:cubicBezTo>
                      <a:pt x="441" y="8"/>
                      <a:pt x="469" y="0"/>
                      <a:pt x="49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24">
                <a:extLst>
                  <a:ext uri="{FF2B5EF4-FFF2-40B4-BE49-F238E27FC236}">
                    <a16:creationId xmlns:a16="http://schemas.microsoft.com/office/drawing/2014/main" id="{661A2845-D2F2-42AE-9C68-7CDEFFAA5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200" y="2935288"/>
                <a:ext cx="849313" cy="982663"/>
              </a:xfrm>
              <a:custGeom>
                <a:avLst/>
                <a:gdLst>
                  <a:gd name="T0" fmla="*/ 359 w 1189"/>
                  <a:gd name="T1" fmla="*/ 291 h 1378"/>
                  <a:gd name="T2" fmla="*/ 342 w 1189"/>
                  <a:gd name="T3" fmla="*/ 303 h 1378"/>
                  <a:gd name="T4" fmla="*/ 333 w 1189"/>
                  <a:gd name="T5" fmla="*/ 493 h 1378"/>
                  <a:gd name="T6" fmla="*/ 354 w 1189"/>
                  <a:gd name="T7" fmla="*/ 585 h 1378"/>
                  <a:gd name="T8" fmla="*/ 408 w 1189"/>
                  <a:gd name="T9" fmla="*/ 666 h 1378"/>
                  <a:gd name="T10" fmla="*/ 470 w 1189"/>
                  <a:gd name="T11" fmla="*/ 846 h 1378"/>
                  <a:gd name="T12" fmla="*/ 454 w 1189"/>
                  <a:gd name="T13" fmla="*/ 892 h 1378"/>
                  <a:gd name="T14" fmla="*/ 405 w 1189"/>
                  <a:gd name="T15" fmla="*/ 954 h 1378"/>
                  <a:gd name="T16" fmla="*/ 400 w 1189"/>
                  <a:gd name="T17" fmla="*/ 961 h 1378"/>
                  <a:gd name="T18" fmla="*/ 421 w 1189"/>
                  <a:gd name="T19" fmla="*/ 974 h 1378"/>
                  <a:gd name="T20" fmla="*/ 436 w 1189"/>
                  <a:gd name="T21" fmla="*/ 954 h 1378"/>
                  <a:gd name="T22" fmla="*/ 889 w 1189"/>
                  <a:gd name="T23" fmla="*/ 828 h 1378"/>
                  <a:gd name="T24" fmla="*/ 979 w 1189"/>
                  <a:gd name="T25" fmla="*/ 903 h 1378"/>
                  <a:gd name="T26" fmla="*/ 1002 w 1189"/>
                  <a:gd name="T27" fmla="*/ 895 h 1378"/>
                  <a:gd name="T28" fmla="*/ 949 w 1189"/>
                  <a:gd name="T29" fmla="*/ 825 h 1378"/>
                  <a:gd name="T30" fmla="*/ 943 w 1189"/>
                  <a:gd name="T31" fmla="*/ 786 h 1378"/>
                  <a:gd name="T32" fmla="*/ 1175 w 1189"/>
                  <a:gd name="T33" fmla="*/ 742 h 1378"/>
                  <a:gd name="T34" fmla="*/ 1188 w 1189"/>
                  <a:gd name="T35" fmla="*/ 769 h 1378"/>
                  <a:gd name="T36" fmla="*/ 1189 w 1189"/>
                  <a:gd name="T37" fmla="*/ 1263 h 1378"/>
                  <a:gd name="T38" fmla="*/ 1168 w 1189"/>
                  <a:gd name="T39" fmla="*/ 1281 h 1378"/>
                  <a:gd name="T40" fmla="*/ 1000 w 1189"/>
                  <a:gd name="T41" fmla="*/ 1306 h 1378"/>
                  <a:gd name="T42" fmla="*/ 664 w 1189"/>
                  <a:gd name="T43" fmla="*/ 1369 h 1378"/>
                  <a:gd name="T44" fmla="*/ 418 w 1189"/>
                  <a:gd name="T45" fmla="*/ 1344 h 1378"/>
                  <a:gd name="T46" fmla="*/ 196 w 1189"/>
                  <a:gd name="T47" fmla="*/ 1324 h 1378"/>
                  <a:gd name="T48" fmla="*/ 156 w 1189"/>
                  <a:gd name="T49" fmla="*/ 1324 h 1378"/>
                  <a:gd name="T50" fmla="*/ 91 w 1189"/>
                  <a:gd name="T51" fmla="*/ 1261 h 1378"/>
                  <a:gd name="T52" fmla="*/ 57 w 1189"/>
                  <a:gd name="T53" fmla="*/ 1134 h 1378"/>
                  <a:gd name="T54" fmla="*/ 37 w 1189"/>
                  <a:gd name="T55" fmla="*/ 855 h 1378"/>
                  <a:gd name="T56" fmla="*/ 136 w 1189"/>
                  <a:gd name="T57" fmla="*/ 277 h 1378"/>
                  <a:gd name="T58" fmla="*/ 146 w 1189"/>
                  <a:gd name="T59" fmla="*/ 224 h 1378"/>
                  <a:gd name="T60" fmla="*/ 311 w 1189"/>
                  <a:gd name="T61" fmla="*/ 48 h 1378"/>
                  <a:gd name="T62" fmla="*/ 386 w 1189"/>
                  <a:gd name="T63" fmla="*/ 23 h 1378"/>
                  <a:gd name="T64" fmla="*/ 489 w 1189"/>
                  <a:gd name="T65" fmla="*/ 40 h 1378"/>
                  <a:gd name="T66" fmla="*/ 587 w 1189"/>
                  <a:gd name="T67" fmla="*/ 120 h 1378"/>
                  <a:gd name="T68" fmla="*/ 591 w 1189"/>
                  <a:gd name="T69" fmla="*/ 176 h 1378"/>
                  <a:gd name="T70" fmla="*/ 564 w 1189"/>
                  <a:gd name="T71" fmla="*/ 249 h 1378"/>
                  <a:gd name="T72" fmla="*/ 504 w 1189"/>
                  <a:gd name="T73" fmla="*/ 289 h 1378"/>
                  <a:gd name="T74" fmla="*/ 384 w 1189"/>
                  <a:gd name="T75" fmla="*/ 291 h 1378"/>
                  <a:gd name="T76" fmla="*/ 359 w 1189"/>
                  <a:gd name="T77" fmla="*/ 291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89" h="1378">
                    <a:moveTo>
                      <a:pt x="359" y="291"/>
                    </a:moveTo>
                    <a:cubicBezTo>
                      <a:pt x="351" y="287"/>
                      <a:pt x="342" y="294"/>
                      <a:pt x="342" y="303"/>
                    </a:cubicBezTo>
                    <a:cubicBezTo>
                      <a:pt x="343" y="369"/>
                      <a:pt x="340" y="431"/>
                      <a:pt x="333" y="493"/>
                    </a:cubicBezTo>
                    <a:cubicBezTo>
                      <a:pt x="329" y="526"/>
                      <a:pt x="335" y="557"/>
                      <a:pt x="354" y="585"/>
                    </a:cubicBezTo>
                    <a:cubicBezTo>
                      <a:pt x="372" y="612"/>
                      <a:pt x="387" y="642"/>
                      <a:pt x="408" y="666"/>
                    </a:cubicBezTo>
                    <a:cubicBezTo>
                      <a:pt x="454" y="718"/>
                      <a:pt x="464" y="781"/>
                      <a:pt x="470" y="846"/>
                    </a:cubicBezTo>
                    <a:cubicBezTo>
                      <a:pt x="471" y="865"/>
                      <a:pt x="466" y="878"/>
                      <a:pt x="454" y="892"/>
                    </a:cubicBezTo>
                    <a:cubicBezTo>
                      <a:pt x="437" y="912"/>
                      <a:pt x="422" y="934"/>
                      <a:pt x="405" y="954"/>
                    </a:cubicBezTo>
                    <a:cubicBezTo>
                      <a:pt x="403" y="956"/>
                      <a:pt x="402" y="959"/>
                      <a:pt x="400" y="961"/>
                    </a:cubicBezTo>
                    <a:cubicBezTo>
                      <a:pt x="392" y="973"/>
                      <a:pt x="412" y="987"/>
                      <a:pt x="421" y="974"/>
                    </a:cubicBezTo>
                    <a:cubicBezTo>
                      <a:pt x="426" y="967"/>
                      <a:pt x="431" y="961"/>
                      <a:pt x="436" y="954"/>
                    </a:cubicBezTo>
                    <a:cubicBezTo>
                      <a:pt x="553" y="785"/>
                      <a:pt x="756" y="785"/>
                      <a:pt x="889" y="828"/>
                    </a:cubicBezTo>
                    <a:cubicBezTo>
                      <a:pt x="929" y="841"/>
                      <a:pt x="957" y="867"/>
                      <a:pt x="979" y="903"/>
                    </a:cubicBezTo>
                    <a:cubicBezTo>
                      <a:pt x="986" y="915"/>
                      <a:pt x="1004" y="908"/>
                      <a:pt x="1002" y="895"/>
                    </a:cubicBezTo>
                    <a:cubicBezTo>
                      <a:pt x="996" y="864"/>
                      <a:pt x="979" y="841"/>
                      <a:pt x="949" y="825"/>
                    </a:cubicBezTo>
                    <a:cubicBezTo>
                      <a:pt x="925" y="813"/>
                      <a:pt x="930" y="803"/>
                      <a:pt x="943" y="786"/>
                    </a:cubicBezTo>
                    <a:cubicBezTo>
                      <a:pt x="1000" y="716"/>
                      <a:pt x="1095" y="697"/>
                      <a:pt x="1175" y="742"/>
                    </a:cubicBezTo>
                    <a:cubicBezTo>
                      <a:pt x="1187" y="749"/>
                      <a:pt x="1188" y="757"/>
                      <a:pt x="1188" y="769"/>
                    </a:cubicBezTo>
                    <a:cubicBezTo>
                      <a:pt x="1188" y="934"/>
                      <a:pt x="1189" y="1098"/>
                      <a:pt x="1189" y="1263"/>
                    </a:cubicBezTo>
                    <a:cubicBezTo>
                      <a:pt x="1189" y="1279"/>
                      <a:pt x="1188" y="1284"/>
                      <a:pt x="1168" y="1281"/>
                    </a:cubicBezTo>
                    <a:cubicBezTo>
                      <a:pt x="1110" y="1273"/>
                      <a:pt x="1056" y="1295"/>
                      <a:pt x="1000" y="1306"/>
                    </a:cubicBezTo>
                    <a:cubicBezTo>
                      <a:pt x="888" y="1327"/>
                      <a:pt x="778" y="1355"/>
                      <a:pt x="664" y="1369"/>
                    </a:cubicBezTo>
                    <a:cubicBezTo>
                      <a:pt x="580" y="1378"/>
                      <a:pt x="499" y="1358"/>
                      <a:pt x="418" y="1344"/>
                    </a:cubicBezTo>
                    <a:cubicBezTo>
                      <a:pt x="344" y="1331"/>
                      <a:pt x="272" y="1310"/>
                      <a:pt x="196" y="1324"/>
                    </a:cubicBezTo>
                    <a:cubicBezTo>
                      <a:pt x="183" y="1326"/>
                      <a:pt x="169" y="1324"/>
                      <a:pt x="156" y="1324"/>
                    </a:cubicBezTo>
                    <a:cubicBezTo>
                      <a:pt x="102" y="1321"/>
                      <a:pt x="95" y="1314"/>
                      <a:pt x="91" y="1261"/>
                    </a:cubicBezTo>
                    <a:cubicBezTo>
                      <a:pt x="88" y="1216"/>
                      <a:pt x="81" y="1173"/>
                      <a:pt x="57" y="1134"/>
                    </a:cubicBezTo>
                    <a:cubicBezTo>
                      <a:pt x="0" y="1044"/>
                      <a:pt x="14" y="949"/>
                      <a:pt x="37" y="855"/>
                    </a:cubicBezTo>
                    <a:cubicBezTo>
                      <a:pt x="83" y="664"/>
                      <a:pt x="102" y="469"/>
                      <a:pt x="136" y="277"/>
                    </a:cubicBezTo>
                    <a:cubicBezTo>
                      <a:pt x="139" y="259"/>
                      <a:pt x="143" y="241"/>
                      <a:pt x="146" y="224"/>
                    </a:cubicBezTo>
                    <a:cubicBezTo>
                      <a:pt x="165" y="133"/>
                      <a:pt x="210" y="66"/>
                      <a:pt x="311" y="48"/>
                    </a:cubicBezTo>
                    <a:cubicBezTo>
                      <a:pt x="336" y="43"/>
                      <a:pt x="363" y="36"/>
                      <a:pt x="386" y="23"/>
                    </a:cubicBezTo>
                    <a:cubicBezTo>
                      <a:pt x="426" y="0"/>
                      <a:pt x="457" y="12"/>
                      <a:pt x="489" y="40"/>
                    </a:cubicBezTo>
                    <a:cubicBezTo>
                      <a:pt x="521" y="67"/>
                      <a:pt x="557" y="90"/>
                      <a:pt x="587" y="120"/>
                    </a:cubicBezTo>
                    <a:cubicBezTo>
                      <a:pt x="605" y="138"/>
                      <a:pt x="608" y="155"/>
                      <a:pt x="591" y="176"/>
                    </a:cubicBezTo>
                    <a:cubicBezTo>
                      <a:pt x="574" y="197"/>
                      <a:pt x="556" y="218"/>
                      <a:pt x="564" y="249"/>
                    </a:cubicBezTo>
                    <a:cubicBezTo>
                      <a:pt x="567" y="265"/>
                      <a:pt x="524" y="294"/>
                      <a:pt x="504" y="289"/>
                    </a:cubicBezTo>
                    <a:cubicBezTo>
                      <a:pt x="464" y="279"/>
                      <a:pt x="424" y="274"/>
                      <a:pt x="384" y="291"/>
                    </a:cubicBezTo>
                    <a:cubicBezTo>
                      <a:pt x="375" y="294"/>
                      <a:pt x="367" y="294"/>
                      <a:pt x="359" y="29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E5BD8CF-20EB-4398-9E41-6AE91B76A32E}"/>
              </a:ext>
            </a:extLst>
          </p:cNvPr>
          <p:cNvGrpSpPr>
            <a:grpSpLocks noChangeAspect="1"/>
          </p:cNvGrpSpPr>
          <p:nvPr/>
        </p:nvGrpSpPr>
        <p:grpSpPr>
          <a:xfrm>
            <a:off x="2512658" y="3387946"/>
            <a:ext cx="828492" cy="828492"/>
            <a:chOff x="5256341" y="2517774"/>
            <a:chExt cx="1646238" cy="1646238"/>
          </a:xfrm>
        </p:grpSpPr>
        <p:sp>
          <p:nvSpPr>
            <p:cNvPr id="32" name="AutoShape 107">
              <a:extLst>
                <a:ext uri="{FF2B5EF4-FFF2-40B4-BE49-F238E27FC236}">
                  <a16:creationId xmlns:a16="http://schemas.microsoft.com/office/drawing/2014/main" id="{3C22F6DD-1F76-435C-A140-9E6E5AA85E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56341" y="2517774"/>
              <a:ext cx="1646238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880E98F-9E73-410B-B721-6ED755FA4047}"/>
                </a:ext>
              </a:extLst>
            </p:cNvPr>
            <p:cNvGrpSpPr/>
            <p:nvPr/>
          </p:nvGrpSpPr>
          <p:grpSpPr>
            <a:xfrm>
              <a:off x="5432682" y="2692400"/>
              <a:ext cx="1293556" cy="1296987"/>
              <a:chOff x="5432682" y="2692400"/>
              <a:chExt cx="1293556" cy="1296987"/>
            </a:xfrm>
          </p:grpSpPr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18255FA7-66A0-45C5-9EFB-5E280164F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682" y="2753317"/>
                <a:ext cx="1285289" cy="1236070"/>
              </a:xfrm>
              <a:custGeom>
                <a:avLst/>
                <a:gdLst>
                  <a:gd name="connsiteX0" fmla="*/ 233276 w 1285289"/>
                  <a:gd name="connsiteY0" fmla="*/ 991595 h 1236070"/>
                  <a:gd name="connsiteX1" fmla="*/ 630639 w 1285289"/>
                  <a:gd name="connsiteY1" fmla="*/ 1202571 h 1236070"/>
                  <a:gd name="connsiteX2" fmla="*/ 1078030 w 1285289"/>
                  <a:gd name="connsiteY2" fmla="*/ 1042201 h 1236070"/>
                  <a:gd name="connsiteX3" fmla="*/ 1008706 w 1285289"/>
                  <a:gd name="connsiteY3" fmla="*/ 1044339 h 1236070"/>
                  <a:gd name="connsiteX4" fmla="*/ 992268 w 1285289"/>
                  <a:gd name="connsiteY4" fmla="*/ 1029371 h 1236070"/>
                  <a:gd name="connsiteX5" fmla="*/ 1007991 w 1285289"/>
                  <a:gd name="connsiteY5" fmla="*/ 1012978 h 1236070"/>
                  <a:gd name="connsiteX6" fmla="*/ 1115908 w 1285289"/>
                  <a:gd name="connsiteY6" fmla="*/ 1010127 h 1236070"/>
                  <a:gd name="connsiteX7" fmla="*/ 1118052 w 1285289"/>
                  <a:gd name="connsiteY7" fmla="*/ 1010127 h 1236070"/>
                  <a:gd name="connsiteX8" fmla="*/ 1118767 w 1285289"/>
                  <a:gd name="connsiteY8" fmla="*/ 1010127 h 1236070"/>
                  <a:gd name="connsiteX9" fmla="*/ 1120911 w 1285289"/>
                  <a:gd name="connsiteY9" fmla="*/ 1010840 h 1236070"/>
                  <a:gd name="connsiteX10" fmla="*/ 1121626 w 1285289"/>
                  <a:gd name="connsiteY10" fmla="*/ 1010840 h 1236070"/>
                  <a:gd name="connsiteX11" fmla="*/ 1123770 w 1285289"/>
                  <a:gd name="connsiteY11" fmla="*/ 1012265 h 1236070"/>
                  <a:gd name="connsiteX12" fmla="*/ 1124484 w 1285289"/>
                  <a:gd name="connsiteY12" fmla="*/ 1012265 h 1236070"/>
                  <a:gd name="connsiteX13" fmla="*/ 1126628 w 1285289"/>
                  <a:gd name="connsiteY13" fmla="*/ 1013691 h 1236070"/>
                  <a:gd name="connsiteX14" fmla="*/ 1127343 w 1285289"/>
                  <a:gd name="connsiteY14" fmla="*/ 1014403 h 1236070"/>
                  <a:gd name="connsiteX15" fmla="*/ 1128772 w 1285289"/>
                  <a:gd name="connsiteY15" fmla="*/ 1015829 h 1236070"/>
                  <a:gd name="connsiteX16" fmla="*/ 1128772 w 1285289"/>
                  <a:gd name="connsiteY16" fmla="*/ 1016542 h 1236070"/>
                  <a:gd name="connsiteX17" fmla="*/ 1130202 w 1285289"/>
                  <a:gd name="connsiteY17" fmla="*/ 1018680 h 1236070"/>
                  <a:gd name="connsiteX18" fmla="*/ 1130202 w 1285289"/>
                  <a:gd name="connsiteY18" fmla="*/ 1019393 h 1236070"/>
                  <a:gd name="connsiteX19" fmla="*/ 1131631 w 1285289"/>
                  <a:gd name="connsiteY19" fmla="*/ 1021531 h 1236070"/>
                  <a:gd name="connsiteX20" fmla="*/ 1131631 w 1285289"/>
                  <a:gd name="connsiteY20" fmla="*/ 1022244 h 1236070"/>
                  <a:gd name="connsiteX21" fmla="*/ 1131631 w 1285289"/>
                  <a:gd name="connsiteY21" fmla="*/ 1024382 h 1236070"/>
                  <a:gd name="connsiteX22" fmla="*/ 1131631 w 1285289"/>
                  <a:gd name="connsiteY22" fmla="*/ 1025095 h 1236070"/>
                  <a:gd name="connsiteX23" fmla="*/ 1131631 w 1285289"/>
                  <a:gd name="connsiteY23" fmla="*/ 1026520 h 1236070"/>
                  <a:gd name="connsiteX24" fmla="*/ 1126628 w 1285289"/>
                  <a:gd name="connsiteY24" fmla="*/ 1132008 h 1236070"/>
                  <a:gd name="connsiteX25" fmla="*/ 1110905 w 1285289"/>
                  <a:gd name="connsiteY25" fmla="*/ 1147689 h 1236070"/>
                  <a:gd name="connsiteX26" fmla="*/ 1110191 w 1285289"/>
                  <a:gd name="connsiteY26" fmla="*/ 1147689 h 1236070"/>
                  <a:gd name="connsiteX27" fmla="*/ 1095182 w 1285289"/>
                  <a:gd name="connsiteY27" fmla="*/ 1130582 h 1236070"/>
                  <a:gd name="connsiteX28" fmla="*/ 1098041 w 1285289"/>
                  <a:gd name="connsiteY28" fmla="*/ 1066434 h 1236070"/>
                  <a:gd name="connsiteX29" fmla="*/ 905077 w 1285289"/>
                  <a:gd name="connsiteY29" fmla="*/ 1192592 h 1236070"/>
                  <a:gd name="connsiteX30" fmla="*/ 679952 w 1285289"/>
                  <a:gd name="connsiteY30" fmla="*/ 1236070 h 1236070"/>
                  <a:gd name="connsiteX31" fmla="*/ 627780 w 1285289"/>
                  <a:gd name="connsiteY31" fmla="*/ 1233932 h 1236070"/>
                  <a:gd name="connsiteX32" fmla="*/ 361918 w 1285289"/>
                  <a:gd name="connsiteY32" fmla="*/ 1146263 h 1236070"/>
                  <a:gd name="connsiteX33" fmla="*/ 206118 w 1285289"/>
                  <a:gd name="connsiteY33" fmla="*/ 1007988 h 1236070"/>
                  <a:gd name="connsiteX34" fmla="*/ 233276 w 1285289"/>
                  <a:gd name="connsiteY34" fmla="*/ 991595 h 1236070"/>
                  <a:gd name="connsiteX35" fmla="*/ 520755 w 1285289"/>
                  <a:gd name="connsiteY35" fmla="*/ 47032 h 1236070"/>
                  <a:gd name="connsiteX36" fmla="*/ 520755 w 1285289"/>
                  <a:gd name="connsiteY36" fmla="*/ 49891 h 1236070"/>
                  <a:gd name="connsiteX37" fmla="*/ 523619 w 1285289"/>
                  <a:gd name="connsiteY37" fmla="*/ 78479 h 1236070"/>
                  <a:gd name="connsiteX38" fmla="*/ 108403 w 1285289"/>
                  <a:gd name="connsiteY38" fmla="*/ 563049 h 1236070"/>
                  <a:gd name="connsiteX39" fmla="*/ 106255 w 1285289"/>
                  <a:gd name="connsiteY39" fmla="*/ 678831 h 1236070"/>
                  <a:gd name="connsiteX40" fmla="*/ 147061 w 1285289"/>
                  <a:gd name="connsiteY40" fmla="*/ 624513 h 1236070"/>
                  <a:gd name="connsiteX41" fmla="*/ 169253 w 1285289"/>
                  <a:gd name="connsiteY41" fmla="*/ 620940 h 1236070"/>
                  <a:gd name="connsiteX42" fmla="*/ 172833 w 1285289"/>
                  <a:gd name="connsiteY42" fmla="*/ 643096 h 1236070"/>
                  <a:gd name="connsiteX43" fmla="*/ 108403 w 1285289"/>
                  <a:gd name="connsiteY43" fmla="*/ 728860 h 1236070"/>
                  <a:gd name="connsiteX44" fmla="*/ 107687 w 1285289"/>
                  <a:gd name="connsiteY44" fmla="*/ 729575 h 1236070"/>
                  <a:gd name="connsiteX45" fmla="*/ 106255 w 1285289"/>
                  <a:gd name="connsiteY45" fmla="*/ 731719 h 1236070"/>
                  <a:gd name="connsiteX46" fmla="*/ 105539 w 1285289"/>
                  <a:gd name="connsiteY46" fmla="*/ 731719 h 1236070"/>
                  <a:gd name="connsiteX47" fmla="*/ 104107 w 1285289"/>
                  <a:gd name="connsiteY47" fmla="*/ 733148 h 1236070"/>
                  <a:gd name="connsiteX48" fmla="*/ 102676 w 1285289"/>
                  <a:gd name="connsiteY48" fmla="*/ 733863 h 1236070"/>
                  <a:gd name="connsiteX49" fmla="*/ 101244 w 1285289"/>
                  <a:gd name="connsiteY49" fmla="*/ 734578 h 1236070"/>
                  <a:gd name="connsiteX50" fmla="*/ 98380 w 1285289"/>
                  <a:gd name="connsiteY50" fmla="*/ 735292 h 1236070"/>
                  <a:gd name="connsiteX51" fmla="*/ 97664 w 1285289"/>
                  <a:gd name="connsiteY51" fmla="*/ 735292 h 1236070"/>
                  <a:gd name="connsiteX52" fmla="*/ 96949 w 1285289"/>
                  <a:gd name="connsiteY52" fmla="*/ 735292 h 1236070"/>
                  <a:gd name="connsiteX53" fmla="*/ 96949 w 1285289"/>
                  <a:gd name="connsiteY53" fmla="*/ 736007 h 1236070"/>
                  <a:gd name="connsiteX54" fmla="*/ 95517 w 1285289"/>
                  <a:gd name="connsiteY54" fmla="*/ 736007 h 1236070"/>
                  <a:gd name="connsiteX55" fmla="*/ 92653 w 1285289"/>
                  <a:gd name="connsiteY55" fmla="*/ 735292 h 1236070"/>
                  <a:gd name="connsiteX56" fmla="*/ 89790 w 1285289"/>
                  <a:gd name="connsiteY56" fmla="*/ 734578 h 1236070"/>
                  <a:gd name="connsiteX57" fmla="*/ 87642 w 1285289"/>
                  <a:gd name="connsiteY57" fmla="*/ 733863 h 1236070"/>
                  <a:gd name="connsiteX58" fmla="*/ 85494 w 1285289"/>
                  <a:gd name="connsiteY58" fmla="*/ 732434 h 1236070"/>
                  <a:gd name="connsiteX59" fmla="*/ 84778 w 1285289"/>
                  <a:gd name="connsiteY59" fmla="*/ 731719 h 1236070"/>
                  <a:gd name="connsiteX60" fmla="*/ 5315 w 1285289"/>
                  <a:gd name="connsiteY60" fmla="*/ 660963 h 1236070"/>
                  <a:gd name="connsiteX61" fmla="*/ 3883 w 1285289"/>
                  <a:gd name="connsiteY61" fmla="*/ 638807 h 1236070"/>
                  <a:gd name="connsiteX62" fmla="*/ 26075 w 1285289"/>
                  <a:gd name="connsiteY62" fmla="*/ 637378 h 1236070"/>
                  <a:gd name="connsiteX63" fmla="*/ 74756 w 1285289"/>
                  <a:gd name="connsiteY63" fmla="*/ 680975 h 1236070"/>
                  <a:gd name="connsiteX64" fmla="*/ 76904 w 1285289"/>
                  <a:gd name="connsiteY64" fmla="*/ 559475 h 1236070"/>
                  <a:gd name="connsiteX65" fmla="*/ 520755 w 1285289"/>
                  <a:gd name="connsiteY65" fmla="*/ 47032 h 1236070"/>
                  <a:gd name="connsiteX66" fmla="*/ 932443 w 1285289"/>
                  <a:gd name="connsiteY66" fmla="*/ 1029 h 1236070"/>
                  <a:gd name="connsiteX67" fmla="*/ 941187 w 1285289"/>
                  <a:gd name="connsiteY67" fmla="*/ 9230 h 1236070"/>
                  <a:gd name="connsiteX68" fmla="*/ 933335 w 1285289"/>
                  <a:gd name="connsiteY68" fmla="*/ 29910 h 1236070"/>
                  <a:gd name="connsiteX69" fmla="*/ 874090 w 1285289"/>
                  <a:gd name="connsiteY69" fmla="*/ 57009 h 1236070"/>
                  <a:gd name="connsiteX70" fmla="*/ 1283809 w 1285289"/>
                  <a:gd name="connsiteY70" fmla="*/ 671716 h 1236070"/>
                  <a:gd name="connsiteX71" fmla="*/ 1270960 w 1285289"/>
                  <a:gd name="connsiteY71" fmla="*/ 762995 h 1236070"/>
                  <a:gd name="connsiteX72" fmla="*/ 1242409 w 1285289"/>
                  <a:gd name="connsiteY72" fmla="*/ 745880 h 1236070"/>
                  <a:gd name="connsiteX73" fmla="*/ 1252402 w 1285289"/>
                  <a:gd name="connsiteY73" fmla="*/ 669577 h 1236070"/>
                  <a:gd name="connsiteX74" fmla="*/ 862669 w 1285289"/>
                  <a:gd name="connsiteY74" fmla="*/ 86247 h 1236070"/>
                  <a:gd name="connsiteX75" fmla="*/ 896932 w 1285289"/>
                  <a:gd name="connsiteY75" fmla="*/ 146149 h 1236070"/>
                  <a:gd name="connsiteX76" fmla="*/ 890507 w 1285289"/>
                  <a:gd name="connsiteY76" fmla="*/ 167542 h 1236070"/>
                  <a:gd name="connsiteX77" fmla="*/ 882656 w 1285289"/>
                  <a:gd name="connsiteY77" fmla="*/ 169681 h 1236070"/>
                  <a:gd name="connsiteX78" fmla="*/ 869094 w 1285289"/>
                  <a:gd name="connsiteY78" fmla="*/ 161837 h 1236070"/>
                  <a:gd name="connsiteX79" fmla="*/ 815559 w 1285289"/>
                  <a:gd name="connsiteY79" fmla="*/ 67706 h 1236070"/>
                  <a:gd name="connsiteX80" fmla="*/ 815559 w 1285289"/>
                  <a:gd name="connsiteY80" fmla="*/ 66993 h 1236070"/>
                  <a:gd name="connsiteX81" fmla="*/ 815559 w 1285289"/>
                  <a:gd name="connsiteY81" fmla="*/ 66279 h 1236070"/>
                  <a:gd name="connsiteX82" fmla="*/ 814845 w 1285289"/>
                  <a:gd name="connsiteY82" fmla="*/ 65566 h 1236070"/>
                  <a:gd name="connsiteX83" fmla="*/ 814845 w 1285289"/>
                  <a:gd name="connsiteY83" fmla="*/ 64853 h 1236070"/>
                  <a:gd name="connsiteX84" fmla="*/ 814845 w 1285289"/>
                  <a:gd name="connsiteY84" fmla="*/ 64140 h 1236070"/>
                  <a:gd name="connsiteX85" fmla="*/ 814131 w 1285289"/>
                  <a:gd name="connsiteY85" fmla="*/ 63427 h 1236070"/>
                  <a:gd name="connsiteX86" fmla="*/ 814131 w 1285289"/>
                  <a:gd name="connsiteY86" fmla="*/ 62714 h 1236070"/>
                  <a:gd name="connsiteX87" fmla="*/ 814131 w 1285289"/>
                  <a:gd name="connsiteY87" fmla="*/ 62001 h 1236070"/>
                  <a:gd name="connsiteX88" fmla="*/ 814131 w 1285289"/>
                  <a:gd name="connsiteY88" fmla="*/ 61288 h 1236070"/>
                  <a:gd name="connsiteX89" fmla="*/ 814131 w 1285289"/>
                  <a:gd name="connsiteY89" fmla="*/ 60574 h 1236070"/>
                  <a:gd name="connsiteX90" fmla="*/ 814131 w 1285289"/>
                  <a:gd name="connsiteY90" fmla="*/ 59861 h 1236070"/>
                  <a:gd name="connsiteX91" fmla="*/ 814131 w 1285289"/>
                  <a:gd name="connsiteY91" fmla="*/ 58435 h 1236070"/>
                  <a:gd name="connsiteX92" fmla="*/ 814131 w 1285289"/>
                  <a:gd name="connsiteY92" fmla="*/ 57722 h 1236070"/>
                  <a:gd name="connsiteX93" fmla="*/ 814131 w 1285289"/>
                  <a:gd name="connsiteY93" fmla="*/ 57009 h 1236070"/>
                  <a:gd name="connsiteX94" fmla="*/ 814131 w 1285289"/>
                  <a:gd name="connsiteY94" fmla="*/ 56296 h 1236070"/>
                  <a:gd name="connsiteX95" fmla="*/ 814845 w 1285289"/>
                  <a:gd name="connsiteY95" fmla="*/ 55583 h 1236070"/>
                  <a:gd name="connsiteX96" fmla="*/ 814845 w 1285289"/>
                  <a:gd name="connsiteY96" fmla="*/ 54870 h 1236070"/>
                  <a:gd name="connsiteX97" fmla="*/ 815559 w 1285289"/>
                  <a:gd name="connsiteY97" fmla="*/ 52017 h 1236070"/>
                  <a:gd name="connsiteX98" fmla="*/ 816273 w 1285289"/>
                  <a:gd name="connsiteY98" fmla="*/ 52017 h 1236070"/>
                  <a:gd name="connsiteX99" fmla="*/ 817700 w 1285289"/>
                  <a:gd name="connsiteY99" fmla="*/ 49878 h 1236070"/>
                  <a:gd name="connsiteX100" fmla="*/ 819842 w 1285289"/>
                  <a:gd name="connsiteY100" fmla="*/ 47738 h 1236070"/>
                  <a:gd name="connsiteX101" fmla="*/ 820555 w 1285289"/>
                  <a:gd name="connsiteY101" fmla="*/ 47738 h 1236070"/>
                  <a:gd name="connsiteX102" fmla="*/ 822697 w 1285289"/>
                  <a:gd name="connsiteY102" fmla="*/ 45599 h 1236070"/>
                  <a:gd name="connsiteX103" fmla="*/ 920487 w 1285289"/>
                  <a:gd name="connsiteY103" fmla="*/ 1386 h 1236070"/>
                  <a:gd name="connsiteX104" fmla="*/ 932443 w 1285289"/>
                  <a:gd name="connsiteY104" fmla="*/ 1029 h 1236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285289" h="1236070">
                    <a:moveTo>
                      <a:pt x="233276" y="991595"/>
                    </a:moveTo>
                    <a:cubicBezTo>
                      <a:pt x="331187" y="1112763"/>
                      <a:pt x="472694" y="1189741"/>
                      <a:pt x="630639" y="1202571"/>
                    </a:cubicBezTo>
                    <a:cubicBezTo>
                      <a:pt x="797874" y="1216826"/>
                      <a:pt x="958678" y="1159093"/>
                      <a:pt x="1078030" y="1042201"/>
                    </a:cubicBezTo>
                    <a:cubicBezTo>
                      <a:pt x="1078030" y="1042201"/>
                      <a:pt x="1078030" y="1042201"/>
                      <a:pt x="1008706" y="1044339"/>
                    </a:cubicBezTo>
                    <a:cubicBezTo>
                      <a:pt x="1000130" y="1045052"/>
                      <a:pt x="992983" y="1037924"/>
                      <a:pt x="992268" y="1029371"/>
                    </a:cubicBezTo>
                    <a:cubicBezTo>
                      <a:pt x="992268" y="1020818"/>
                      <a:pt x="999415" y="1013691"/>
                      <a:pt x="1007991" y="1012978"/>
                    </a:cubicBezTo>
                    <a:cubicBezTo>
                      <a:pt x="1007991" y="1012978"/>
                      <a:pt x="1007991" y="1012978"/>
                      <a:pt x="1115908" y="1010127"/>
                    </a:cubicBezTo>
                    <a:cubicBezTo>
                      <a:pt x="1116623" y="1010127"/>
                      <a:pt x="1117338" y="1010127"/>
                      <a:pt x="1118052" y="1010127"/>
                    </a:cubicBezTo>
                    <a:cubicBezTo>
                      <a:pt x="1118052" y="1010127"/>
                      <a:pt x="1118052" y="1010127"/>
                      <a:pt x="1118767" y="1010127"/>
                    </a:cubicBezTo>
                    <a:cubicBezTo>
                      <a:pt x="1119482" y="1010127"/>
                      <a:pt x="1120196" y="1010127"/>
                      <a:pt x="1120911" y="1010840"/>
                    </a:cubicBezTo>
                    <a:cubicBezTo>
                      <a:pt x="1120911" y="1010840"/>
                      <a:pt x="1120911" y="1010840"/>
                      <a:pt x="1121626" y="1010840"/>
                    </a:cubicBezTo>
                    <a:cubicBezTo>
                      <a:pt x="1122340" y="1010840"/>
                      <a:pt x="1123055" y="1011552"/>
                      <a:pt x="1123770" y="1012265"/>
                    </a:cubicBezTo>
                    <a:cubicBezTo>
                      <a:pt x="1123770" y="1012265"/>
                      <a:pt x="1123770" y="1012265"/>
                      <a:pt x="1124484" y="1012265"/>
                    </a:cubicBezTo>
                    <a:cubicBezTo>
                      <a:pt x="1125199" y="1012265"/>
                      <a:pt x="1125914" y="1012978"/>
                      <a:pt x="1126628" y="1013691"/>
                    </a:cubicBezTo>
                    <a:cubicBezTo>
                      <a:pt x="1126628" y="1014403"/>
                      <a:pt x="1127343" y="1014403"/>
                      <a:pt x="1127343" y="1014403"/>
                    </a:cubicBezTo>
                    <a:cubicBezTo>
                      <a:pt x="1128058" y="1015116"/>
                      <a:pt x="1128058" y="1015829"/>
                      <a:pt x="1128772" y="1015829"/>
                    </a:cubicBezTo>
                    <a:cubicBezTo>
                      <a:pt x="1128772" y="1016542"/>
                      <a:pt x="1128772" y="1016542"/>
                      <a:pt x="1128772" y="1016542"/>
                    </a:cubicBezTo>
                    <a:cubicBezTo>
                      <a:pt x="1129487" y="1017254"/>
                      <a:pt x="1130202" y="1017967"/>
                      <a:pt x="1130202" y="1018680"/>
                    </a:cubicBezTo>
                    <a:cubicBezTo>
                      <a:pt x="1130202" y="1018680"/>
                      <a:pt x="1130202" y="1018680"/>
                      <a:pt x="1130202" y="1019393"/>
                    </a:cubicBezTo>
                    <a:cubicBezTo>
                      <a:pt x="1130917" y="1020105"/>
                      <a:pt x="1130917" y="1020818"/>
                      <a:pt x="1131631" y="1021531"/>
                    </a:cubicBezTo>
                    <a:cubicBezTo>
                      <a:pt x="1131631" y="1021531"/>
                      <a:pt x="1131631" y="1021531"/>
                      <a:pt x="1131631" y="1022244"/>
                    </a:cubicBezTo>
                    <a:cubicBezTo>
                      <a:pt x="1131631" y="1022956"/>
                      <a:pt x="1131631" y="1023669"/>
                      <a:pt x="1131631" y="1024382"/>
                    </a:cubicBezTo>
                    <a:cubicBezTo>
                      <a:pt x="1131631" y="1024382"/>
                      <a:pt x="1131631" y="1024382"/>
                      <a:pt x="1131631" y="1025095"/>
                    </a:cubicBezTo>
                    <a:cubicBezTo>
                      <a:pt x="1131631" y="1025095"/>
                      <a:pt x="1131631" y="1025807"/>
                      <a:pt x="1131631" y="1026520"/>
                    </a:cubicBezTo>
                    <a:cubicBezTo>
                      <a:pt x="1131631" y="1026520"/>
                      <a:pt x="1131631" y="1026520"/>
                      <a:pt x="1126628" y="1132008"/>
                    </a:cubicBezTo>
                    <a:cubicBezTo>
                      <a:pt x="1125914" y="1140561"/>
                      <a:pt x="1118767" y="1147689"/>
                      <a:pt x="1110905" y="1147689"/>
                    </a:cubicBezTo>
                    <a:cubicBezTo>
                      <a:pt x="1110191" y="1147689"/>
                      <a:pt x="1110191" y="1147689"/>
                      <a:pt x="1110191" y="1147689"/>
                    </a:cubicBezTo>
                    <a:cubicBezTo>
                      <a:pt x="1100900" y="1147689"/>
                      <a:pt x="1094468" y="1139135"/>
                      <a:pt x="1095182" y="1130582"/>
                    </a:cubicBezTo>
                    <a:cubicBezTo>
                      <a:pt x="1095182" y="1130582"/>
                      <a:pt x="1095182" y="1130582"/>
                      <a:pt x="1098041" y="1066434"/>
                    </a:cubicBezTo>
                    <a:cubicBezTo>
                      <a:pt x="1042296" y="1119891"/>
                      <a:pt x="976545" y="1163369"/>
                      <a:pt x="905077" y="1192592"/>
                    </a:cubicBezTo>
                    <a:cubicBezTo>
                      <a:pt x="833609" y="1221815"/>
                      <a:pt x="757852" y="1236070"/>
                      <a:pt x="679952" y="1236070"/>
                    </a:cubicBezTo>
                    <a:cubicBezTo>
                      <a:pt x="662799" y="1236070"/>
                      <a:pt x="645647" y="1235357"/>
                      <a:pt x="627780" y="1233932"/>
                    </a:cubicBezTo>
                    <a:cubicBezTo>
                      <a:pt x="532013" y="1226092"/>
                      <a:pt x="441963" y="1196156"/>
                      <a:pt x="361918" y="1146263"/>
                    </a:cubicBezTo>
                    <a:cubicBezTo>
                      <a:pt x="302600" y="1109200"/>
                      <a:pt x="249713" y="1062158"/>
                      <a:pt x="206118" y="1007988"/>
                    </a:cubicBezTo>
                    <a:cubicBezTo>
                      <a:pt x="216123" y="1003712"/>
                      <a:pt x="224699" y="998010"/>
                      <a:pt x="233276" y="991595"/>
                    </a:cubicBezTo>
                    <a:close/>
                    <a:moveTo>
                      <a:pt x="520755" y="47032"/>
                    </a:moveTo>
                    <a:cubicBezTo>
                      <a:pt x="520755" y="47747"/>
                      <a:pt x="520755" y="49176"/>
                      <a:pt x="520755" y="49891"/>
                    </a:cubicBezTo>
                    <a:cubicBezTo>
                      <a:pt x="520755" y="59897"/>
                      <a:pt x="521471" y="69188"/>
                      <a:pt x="523619" y="78479"/>
                    </a:cubicBezTo>
                    <a:cubicBezTo>
                      <a:pt x="303841" y="139944"/>
                      <a:pt x="136322" y="329340"/>
                      <a:pt x="108403" y="563049"/>
                    </a:cubicBezTo>
                    <a:cubicBezTo>
                      <a:pt x="104107" y="601643"/>
                      <a:pt x="103392" y="640237"/>
                      <a:pt x="106255" y="678831"/>
                    </a:cubicBezTo>
                    <a:cubicBezTo>
                      <a:pt x="106255" y="678831"/>
                      <a:pt x="106255" y="678831"/>
                      <a:pt x="147061" y="624513"/>
                    </a:cubicBezTo>
                    <a:cubicBezTo>
                      <a:pt x="152788" y="617366"/>
                      <a:pt x="162094" y="615937"/>
                      <a:pt x="169253" y="620940"/>
                    </a:cubicBezTo>
                    <a:cubicBezTo>
                      <a:pt x="176412" y="625943"/>
                      <a:pt x="177844" y="635949"/>
                      <a:pt x="172833" y="643096"/>
                    </a:cubicBezTo>
                    <a:cubicBezTo>
                      <a:pt x="172833" y="643096"/>
                      <a:pt x="172833" y="643096"/>
                      <a:pt x="108403" y="728860"/>
                    </a:cubicBezTo>
                    <a:cubicBezTo>
                      <a:pt x="108403" y="728860"/>
                      <a:pt x="108403" y="728860"/>
                      <a:pt x="107687" y="729575"/>
                    </a:cubicBezTo>
                    <a:cubicBezTo>
                      <a:pt x="106971" y="730290"/>
                      <a:pt x="106255" y="731004"/>
                      <a:pt x="106255" y="731719"/>
                    </a:cubicBezTo>
                    <a:cubicBezTo>
                      <a:pt x="105539" y="731719"/>
                      <a:pt x="105539" y="731719"/>
                      <a:pt x="105539" y="731719"/>
                    </a:cubicBezTo>
                    <a:cubicBezTo>
                      <a:pt x="104823" y="732434"/>
                      <a:pt x="104107" y="733148"/>
                      <a:pt x="104107" y="733148"/>
                    </a:cubicBezTo>
                    <a:cubicBezTo>
                      <a:pt x="103392" y="733148"/>
                      <a:pt x="103392" y="733863"/>
                      <a:pt x="102676" y="733863"/>
                    </a:cubicBezTo>
                    <a:cubicBezTo>
                      <a:pt x="101960" y="733863"/>
                      <a:pt x="101960" y="734578"/>
                      <a:pt x="101244" y="734578"/>
                    </a:cubicBezTo>
                    <a:cubicBezTo>
                      <a:pt x="100528" y="734578"/>
                      <a:pt x="99096" y="735292"/>
                      <a:pt x="98380" y="735292"/>
                    </a:cubicBezTo>
                    <a:cubicBezTo>
                      <a:pt x="98380" y="735292"/>
                      <a:pt x="98380" y="735292"/>
                      <a:pt x="97664" y="735292"/>
                    </a:cubicBezTo>
                    <a:cubicBezTo>
                      <a:pt x="97664" y="735292"/>
                      <a:pt x="97664" y="735292"/>
                      <a:pt x="96949" y="735292"/>
                    </a:cubicBezTo>
                    <a:cubicBezTo>
                      <a:pt x="96949" y="735292"/>
                      <a:pt x="96949" y="735292"/>
                      <a:pt x="96949" y="736007"/>
                    </a:cubicBezTo>
                    <a:cubicBezTo>
                      <a:pt x="96233" y="736007"/>
                      <a:pt x="96233" y="736007"/>
                      <a:pt x="95517" y="736007"/>
                    </a:cubicBezTo>
                    <a:cubicBezTo>
                      <a:pt x="94085" y="736007"/>
                      <a:pt x="93369" y="736007"/>
                      <a:pt x="92653" y="735292"/>
                    </a:cubicBezTo>
                    <a:cubicBezTo>
                      <a:pt x="91937" y="735292"/>
                      <a:pt x="90506" y="735292"/>
                      <a:pt x="89790" y="734578"/>
                    </a:cubicBezTo>
                    <a:cubicBezTo>
                      <a:pt x="89074" y="734578"/>
                      <a:pt x="88358" y="734578"/>
                      <a:pt x="87642" y="733863"/>
                    </a:cubicBezTo>
                    <a:cubicBezTo>
                      <a:pt x="86926" y="733148"/>
                      <a:pt x="86210" y="733148"/>
                      <a:pt x="85494" y="732434"/>
                    </a:cubicBezTo>
                    <a:cubicBezTo>
                      <a:pt x="85494" y="732434"/>
                      <a:pt x="84778" y="732434"/>
                      <a:pt x="84778" y="731719"/>
                    </a:cubicBezTo>
                    <a:cubicBezTo>
                      <a:pt x="84778" y="731719"/>
                      <a:pt x="84778" y="731719"/>
                      <a:pt x="5315" y="660963"/>
                    </a:cubicBezTo>
                    <a:cubicBezTo>
                      <a:pt x="-1128" y="655246"/>
                      <a:pt x="-1844" y="645954"/>
                      <a:pt x="3883" y="638807"/>
                    </a:cubicBezTo>
                    <a:cubicBezTo>
                      <a:pt x="9610" y="632375"/>
                      <a:pt x="19632" y="631660"/>
                      <a:pt x="26075" y="637378"/>
                    </a:cubicBezTo>
                    <a:cubicBezTo>
                      <a:pt x="26075" y="637378"/>
                      <a:pt x="26075" y="637378"/>
                      <a:pt x="74756" y="680975"/>
                    </a:cubicBezTo>
                    <a:cubicBezTo>
                      <a:pt x="71176" y="640237"/>
                      <a:pt x="72608" y="599499"/>
                      <a:pt x="76904" y="559475"/>
                    </a:cubicBezTo>
                    <a:cubicBezTo>
                      <a:pt x="106971" y="310758"/>
                      <a:pt x="286659" y="109926"/>
                      <a:pt x="520755" y="47032"/>
                    </a:cubicBezTo>
                    <a:close/>
                    <a:moveTo>
                      <a:pt x="932443" y="1029"/>
                    </a:moveTo>
                    <a:cubicBezTo>
                      <a:pt x="936190" y="2455"/>
                      <a:pt x="939402" y="5308"/>
                      <a:pt x="941187" y="9230"/>
                    </a:cubicBezTo>
                    <a:cubicBezTo>
                      <a:pt x="944756" y="17074"/>
                      <a:pt x="941187" y="26345"/>
                      <a:pt x="933335" y="29910"/>
                    </a:cubicBezTo>
                    <a:cubicBezTo>
                      <a:pt x="933335" y="29910"/>
                      <a:pt x="933335" y="29910"/>
                      <a:pt x="874090" y="57009"/>
                    </a:cubicBezTo>
                    <a:cubicBezTo>
                      <a:pt x="1132484" y="144009"/>
                      <a:pt x="1303081" y="395740"/>
                      <a:pt x="1283809" y="671716"/>
                    </a:cubicBezTo>
                    <a:cubicBezTo>
                      <a:pt x="1281667" y="702380"/>
                      <a:pt x="1277385" y="733044"/>
                      <a:pt x="1270960" y="762995"/>
                    </a:cubicBezTo>
                    <a:cubicBezTo>
                      <a:pt x="1261681" y="755864"/>
                      <a:pt x="1252402" y="750159"/>
                      <a:pt x="1242409" y="745880"/>
                    </a:cubicBezTo>
                    <a:cubicBezTo>
                      <a:pt x="1247405" y="720921"/>
                      <a:pt x="1250974" y="695249"/>
                      <a:pt x="1252402" y="669577"/>
                    </a:cubicBezTo>
                    <a:cubicBezTo>
                      <a:pt x="1270960" y="407150"/>
                      <a:pt x="1108215" y="168255"/>
                      <a:pt x="862669" y="86247"/>
                    </a:cubicBezTo>
                    <a:cubicBezTo>
                      <a:pt x="862669" y="86247"/>
                      <a:pt x="862669" y="86247"/>
                      <a:pt x="896932" y="146149"/>
                    </a:cubicBezTo>
                    <a:cubicBezTo>
                      <a:pt x="901214" y="153993"/>
                      <a:pt x="898359" y="163263"/>
                      <a:pt x="890507" y="167542"/>
                    </a:cubicBezTo>
                    <a:cubicBezTo>
                      <a:pt x="887652" y="168968"/>
                      <a:pt x="884797" y="169681"/>
                      <a:pt x="882656" y="169681"/>
                    </a:cubicBezTo>
                    <a:cubicBezTo>
                      <a:pt x="876945" y="169681"/>
                      <a:pt x="871949" y="166829"/>
                      <a:pt x="869094" y="161837"/>
                    </a:cubicBezTo>
                    <a:cubicBezTo>
                      <a:pt x="869094" y="161837"/>
                      <a:pt x="869094" y="161837"/>
                      <a:pt x="815559" y="67706"/>
                    </a:cubicBezTo>
                    <a:cubicBezTo>
                      <a:pt x="815559" y="67706"/>
                      <a:pt x="815559" y="67706"/>
                      <a:pt x="815559" y="66993"/>
                    </a:cubicBezTo>
                    <a:cubicBezTo>
                      <a:pt x="815559" y="66993"/>
                      <a:pt x="815559" y="66993"/>
                      <a:pt x="815559" y="66279"/>
                    </a:cubicBezTo>
                    <a:cubicBezTo>
                      <a:pt x="814845" y="66279"/>
                      <a:pt x="814845" y="66279"/>
                      <a:pt x="814845" y="65566"/>
                    </a:cubicBezTo>
                    <a:cubicBezTo>
                      <a:pt x="814845" y="65566"/>
                      <a:pt x="814845" y="65566"/>
                      <a:pt x="814845" y="64853"/>
                    </a:cubicBezTo>
                    <a:cubicBezTo>
                      <a:pt x="814845" y="64853"/>
                      <a:pt x="814845" y="64853"/>
                      <a:pt x="814845" y="64140"/>
                    </a:cubicBezTo>
                    <a:cubicBezTo>
                      <a:pt x="814131" y="64140"/>
                      <a:pt x="814131" y="63427"/>
                      <a:pt x="814131" y="63427"/>
                    </a:cubicBezTo>
                    <a:cubicBezTo>
                      <a:pt x="814131" y="63427"/>
                      <a:pt x="814131" y="63427"/>
                      <a:pt x="814131" y="62714"/>
                    </a:cubicBezTo>
                    <a:cubicBezTo>
                      <a:pt x="814131" y="62714"/>
                      <a:pt x="814131" y="62714"/>
                      <a:pt x="814131" y="62001"/>
                    </a:cubicBezTo>
                    <a:cubicBezTo>
                      <a:pt x="814131" y="62001"/>
                      <a:pt x="814131" y="62001"/>
                      <a:pt x="814131" y="61288"/>
                    </a:cubicBezTo>
                    <a:cubicBezTo>
                      <a:pt x="814131" y="61288"/>
                      <a:pt x="814131" y="61288"/>
                      <a:pt x="814131" y="60574"/>
                    </a:cubicBezTo>
                    <a:cubicBezTo>
                      <a:pt x="814131" y="59861"/>
                      <a:pt x="814131" y="59861"/>
                      <a:pt x="814131" y="59861"/>
                    </a:cubicBezTo>
                    <a:cubicBezTo>
                      <a:pt x="814131" y="59148"/>
                      <a:pt x="814131" y="59148"/>
                      <a:pt x="814131" y="58435"/>
                    </a:cubicBezTo>
                    <a:cubicBezTo>
                      <a:pt x="814131" y="58435"/>
                      <a:pt x="814131" y="58435"/>
                      <a:pt x="814131" y="57722"/>
                    </a:cubicBezTo>
                    <a:cubicBezTo>
                      <a:pt x="814131" y="57722"/>
                      <a:pt x="814131" y="57722"/>
                      <a:pt x="814131" y="57009"/>
                    </a:cubicBezTo>
                    <a:cubicBezTo>
                      <a:pt x="814131" y="57009"/>
                      <a:pt x="814131" y="57009"/>
                      <a:pt x="814131" y="56296"/>
                    </a:cubicBezTo>
                    <a:cubicBezTo>
                      <a:pt x="814131" y="55583"/>
                      <a:pt x="814845" y="55583"/>
                      <a:pt x="814845" y="55583"/>
                    </a:cubicBezTo>
                    <a:cubicBezTo>
                      <a:pt x="814845" y="55583"/>
                      <a:pt x="814845" y="55583"/>
                      <a:pt x="814845" y="54870"/>
                    </a:cubicBezTo>
                    <a:cubicBezTo>
                      <a:pt x="814845" y="54156"/>
                      <a:pt x="815559" y="53443"/>
                      <a:pt x="815559" y="52017"/>
                    </a:cubicBezTo>
                    <a:cubicBezTo>
                      <a:pt x="816273" y="52017"/>
                      <a:pt x="816273" y="52017"/>
                      <a:pt x="816273" y="52017"/>
                    </a:cubicBezTo>
                    <a:cubicBezTo>
                      <a:pt x="816273" y="51304"/>
                      <a:pt x="816986" y="50591"/>
                      <a:pt x="817700" y="49878"/>
                    </a:cubicBezTo>
                    <a:cubicBezTo>
                      <a:pt x="818414" y="49165"/>
                      <a:pt x="819128" y="48451"/>
                      <a:pt x="819842" y="47738"/>
                    </a:cubicBezTo>
                    <a:cubicBezTo>
                      <a:pt x="820555" y="47738"/>
                      <a:pt x="820555" y="47738"/>
                      <a:pt x="820555" y="47738"/>
                    </a:cubicBezTo>
                    <a:cubicBezTo>
                      <a:pt x="821269" y="47025"/>
                      <a:pt x="821983" y="46312"/>
                      <a:pt x="822697" y="45599"/>
                    </a:cubicBezTo>
                    <a:cubicBezTo>
                      <a:pt x="822697" y="45599"/>
                      <a:pt x="822697" y="45599"/>
                      <a:pt x="920487" y="1386"/>
                    </a:cubicBezTo>
                    <a:cubicBezTo>
                      <a:pt x="924413" y="-397"/>
                      <a:pt x="928696" y="-397"/>
                      <a:pt x="932443" y="102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F805D26C-BC6E-4326-9990-0E2CEC1B4B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938" y="2692400"/>
                <a:ext cx="1257300" cy="1049338"/>
              </a:xfrm>
              <a:custGeom>
                <a:avLst/>
                <a:gdLst>
                  <a:gd name="connsiteX0" fmla="*/ 1202365 w 1257300"/>
                  <a:gd name="connsiteY0" fmla="*/ 890162 h 1049338"/>
                  <a:gd name="connsiteX1" fmla="*/ 1194553 w 1257300"/>
                  <a:gd name="connsiteY1" fmla="*/ 893290 h 1049338"/>
                  <a:gd name="connsiteX2" fmla="*/ 1188871 w 1257300"/>
                  <a:gd name="connsiteY2" fmla="*/ 899010 h 1049338"/>
                  <a:gd name="connsiteX3" fmla="*/ 1131345 w 1257300"/>
                  <a:gd name="connsiteY3" fmla="*/ 956209 h 1049338"/>
                  <a:gd name="connsiteX4" fmla="*/ 1099386 w 1257300"/>
                  <a:gd name="connsiteY4" fmla="*/ 929754 h 1049338"/>
                  <a:gd name="connsiteX5" fmla="*/ 1083761 w 1257300"/>
                  <a:gd name="connsiteY5" fmla="*/ 931184 h 1049338"/>
                  <a:gd name="connsiteX6" fmla="*/ 1085182 w 1257300"/>
                  <a:gd name="connsiteY6" fmla="*/ 947629 h 1049338"/>
                  <a:gd name="connsiteX7" fmla="*/ 1124953 w 1257300"/>
                  <a:gd name="connsiteY7" fmla="*/ 979803 h 1049338"/>
                  <a:gd name="connsiteX8" fmla="*/ 1132055 w 1257300"/>
                  <a:gd name="connsiteY8" fmla="*/ 982663 h 1049338"/>
                  <a:gd name="connsiteX9" fmla="*/ 1139157 w 1257300"/>
                  <a:gd name="connsiteY9" fmla="*/ 979088 h 1049338"/>
                  <a:gd name="connsiteX10" fmla="*/ 1210177 w 1257300"/>
                  <a:gd name="connsiteY10" fmla="*/ 909735 h 1049338"/>
                  <a:gd name="connsiteX11" fmla="*/ 1212308 w 1257300"/>
                  <a:gd name="connsiteY11" fmla="*/ 896150 h 1049338"/>
                  <a:gd name="connsiteX12" fmla="*/ 1210177 w 1257300"/>
                  <a:gd name="connsiteY12" fmla="*/ 894005 h 1049338"/>
                  <a:gd name="connsiteX13" fmla="*/ 1202365 w 1257300"/>
                  <a:gd name="connsiteY13" fmla="*/ 890162 h 1049338"/>
                  <a:gd name="connsiteX14" fmla="*/ 111919 w 1257300"/>
                  <a:gd name="connsiteY14" fmla="*/ 877406 h 1049338"/>
                  <a:gd name="connsiteX15" fmla="*/ 111210 w 1257300"/>
                  <a:gd name="connsiteY15" fmla="*/ 893816 h 1049338"/>
                  <a:gd name="connsiteX16" fmla="*/ 140963 w 1257300"/>
                  <a:gd name="connsiteY16" fmla="*/ 927350 h 1049338"/>
                  <a:gd name="connsiteX17" fmla="*/ 57372 w 1257300"/>
                  <a:gd name="connsiteY17" fmla="*/ 927350 h 1049338"/>
                  <a:gd name="connsiteX18" fmla="*/ 46037 w 1257300"/>
                  <a:gd name="connsiteY18" fmla="*/ 938766 h 1049338"/>
                  <a:gd name="connsiteX19" fmla="*/ 57372 w 1257300"/>
                  <a:gd name="connsiteY19" fmla="*/ 950181 h 1049338"/>
                  <a:gd name="connsiteX20" fmla="*/ 140255 w 1257300"/>
                  <a:gd name="connsiteY20" fmla="*/ 950181 h 1049338"/>
                  <a:gd name="connsiteX21" fmla="*/ 111210 w 1257300"/>
                  <a:gd name="connsiteY21" fmla="*/ 980861 h 1049338"/>
                  <a:gd name="connsiteX22" fmla="*/ 111919 w 1257300"/>
                  <a:gd name="connsiteY22" fmla="*/ 997271 h 1049338"/>
                  <a:gd name="connsiteX23" fmla="*/ 119711 w 1257300"/>
                  <a:gd name="connsiteY23" fmla="*/ 1000125 h 1049338"/>
                  <a:gd name="connsiteX24" fmla="*/ 128212 w 1257300"/>
                  <a:gd name="connsiteY24" fmla="*/ 996558 h 1049338"/>
                  <a:gd name="connsiteX25" fmla="*/ 174258 w 1257300"/>
                  <a:gd name="connsiteY25" fmla="*/ 946614 h 1049338"/>
                  <a:gd name="connsiteX26" fmla="*/ 174967 w 1257300"/>
                  <a:gd name="connsiteY26" fmla="*/ 946614 h 1049338"/>
                  <a:gd name="connsiteX27" fmla="*/ 175675 w 1257300"/>
                  <a:gd name="connsiteY27" fmla="*/ 945187 h 1049338"/>
                  <a:gd name="connsiteX28" fmla="*/ 176383 w 1257300"/>
                  <a:gd name="connsiteY28" fmla="*/ 944473 h 1049338"/>
                  <a:gd name="connsiteX29" fmla="*/ 176383 w 1257300"/>
                  <a:gd name="connsiteY29" fmla="*/ 943760 h 1049338"/>
                  <a:gd name="connsiteX30" fmla="*/ 177092 w 1257300"/>
                  <a:gd name="connsiteY30" fmla="*/ 943046 h 1049338"/>
                  <a:gd name="connsiteX31" fmla="*/ 177092 w 1257300"/>
                  <a:gd name="connsiteY31" fmla="*/ 942333 h 1049338"/>
                  <a:gd name="connsiteX32" fmla="*/ 177092 w 1257300"/>
                  <a:gd name="connsiteY32" fmla="*/ 940906 h 1049338"/>
                  <a:gd name="connsiteX33" fmla="*/ 177800 w 1257300"/>
                  <a:gd name="connsiteY33" fmla="*/ 940906 h 1049338"/>
                  <a:gd name="connsiteX34" fmla="*/ 177800 w 1257300"/>
                  <a:gd name="connsiteY34" fmla="*/ 938766 h 1049338"/>
                  <a:gd name="connsiteX35" fmla="*/ 177800 w 1257300"/>
                  <a:gd name="connsiteY35" fmla="*/ 938052 h 1049338"/>
                  <a:gd name="connsiteX36" fmla="*/ 177800 w 1257300"/>
                  <a:gd name="connsiteY36" fmla="*/ 936625 h 1049338"/>
                  <a:gd name="connsiteX37" fmla="*/ 177092 w 1257300"/>
                  <a:gd name="connsiteY37" fmla="*/ 935912 h 1049338"/>
                  <a:gd name="connsiteX38" fmla="*/ 177092 w 1257300"/>
                  <a:gd name="connsiteY38" fmla="*/ 934485 h 1049338"/>
                  <a:gd name="connsiteX39" fmla="*/ 176383 w 1257300"/>
                  <a:gd name="connsiteY39" fmla="*/ 934485 h 1049338"/>
                  <a:gd name="connsiteX40" fmla="*/ 175675 w 1257300"/>
                  <a:gd name="connsiteY40" fmla="*/ 932344 h 1049338"/>
                  <a:gd name="connsiteX41" fmla="*/ 174967 w 1257300"/>
                  <a:gd name="connsiteY41" fmla="*/ 930917 h 1049338"/>
                  <a:gd name="connsiteX42" fmla="*/ 128212 w 1257300"/>
                  <a:gd name="connsiteY42" fmla="*/ 878120 h 1049338"/>
                  <a:gd name="connsiteX43" fmla="*/ 111919 w 1257300"/>
                  <a:gd name="connsiteY43" fmla="*/ 877406 h 1049338"/>
                  <a:gd name="connsiteX44" fmla="*/ 1146614 w 1257300"/>
                  <a:gd name="connsiteY44" fmla="*/ 825500 h 1049338"/>
                  <a:gd name="connsiteX45" fmla="*/ 1197700 w 1257300"/>
                  <a:gd name="connsiteY45" fmla="*/ 838363 h 1049338"/>
                  <a:gd name="connsiteX46" fmla="*/ 1224662 w 1257300"/>
                  <a:gd name="connsiteY46" fmla="*/ 857658 h 1049338"/>
                  <a:gd name="connsiteX47" fmla="*/ 1257300 w 1257300"/>
                  <a:gd name="connsiteY47" fmla="*/ 936982 h 1049338"/>
                  <a:gd name="connsiteX48" fmla="*/ 1146614 w 1257300"/>
                  <a:gd name="connsiteY48" fmla="*/ 1047750 h 1049338"/>
                  <a:gd name="connsiteX49" fmla="*/ 1036637 w 1257300"/>
                  <a:gd name="connsiteY49" fmla="*/ 936268 h 1049338"/>
                  <a:gd name="connsiteX50" fmla="*/ 1146614 w 1257300"/>
                  <a:gd name="connsiteY50" fmla="*/ 825500 h 1049338"/>
                  <a:gd name="connsiteX51" fmla="*/ 111919 w 1257300"/>
                  <a:gd name="connsiteY51" fmla="*/ 825500 h 1049338"/>
                  <a:gd name="connsiteX52" fmla="*/ 223838 w 1257300"/>
                  <a:gd name="connsiteY52" fmla="*/ 937777 h 1049338"/>
                  <a:gd name="connsiteX53" fmla="*/ 179358 w 1257300"/>
                  <a:gd name="connsiteY53" fmla="*/ 1026454 h 1049338"/>
                  <a:gd name="connsiteX54" fmla="*/ 151378 w 1257300"/>
                  <a:gd name="connsiteY54" fmla="*/ 1042187 h 1049338"/>
                  <a:gd name="connsiteX55" fmla="*/ 111919 w 1257300"/>
                  <a:gd name="connsiteY55" fmla="*/ 1049338 h 1049338"/>
                  <a:gd name="connsiteX56" fmla="*/ 0 w 1257300"/>
                  <a:gd name="connsiteY56" fmla="*/ 937062 h 1049338"/>
                  <a:gd name="connsiteX57" fmla="*/ 111919 w 1257300"/>
                  <a:gd name="connsiteY57" fmla="*/ 825500 h 1049338"/>
                  <a:gd name="connsiteX58" fmla="*/ 582076 w 1257300"/>
                  <a:gd name="connsiteY58" fmla="*/ 64618 h 1049338"/>
                  <a:gd name="connsiteX59" fmla="*/ 582076 w 1257300"/>
                  <a:gd name="connsiteY59" fmla="*/ 81074 h 1049338"/>
                  <a:gd name="connsiteX60" fmla="*/ 590528 w 1257300"/>
                  <a:gd name="connsiteY60" fmla="*/ 89660 h 1049338"/>
                  <a:gd name="connsiteX61" fmla="*/ 611657 w 1257300"/>
                  <a:gd name="connsiteY61" fmla="*/ 111841 h 1049338"/>
                  <a:gd name="connsiteX62" fmla="*/ 603206 w 1257300"/>
                  <a:gd name="connsiteY62" fmla="*/ 120427 h 1049338"/>
                  <a:gd name="connsiteX63" fmla="*/ 582076 w 1257300"/>
                  <a:gd name="connsiteY63" fmla="*/ 142607 h 1049338"/>
                  <a:gd name="connsiteX64" fmla="*/ 582076 w 1257300"/>
                  <a:gd name="connsiteY64" fmla="*/ 159063 h 1049338"/>
                  <a:gd name="connsiteX65" fmla="*/ 589824 w 1257300"/>
                  <a:gd name="connsiteY65" fmla="*/ 161925 h 1049338"/>
                  <a:gd name="connsiteX66" fmla="*/ 598275 w 1257300"/>
                  <a:gd name="connsiteY66" fmla="*/ 159063 h 1049338"/>
                  <a:gd name="connsiteX67" fmla="*/ 627857 w 1257300"/>
                  <a:gd name="connsiteY67" fmla="*/ 128297 h 1049338"/>
                  <a:gd name="connsiteX68" fmla="*/ 657438 w 1257300"/>
                  <a:gd name="connsiteY68" fmla="*/ 159063 h 1049338"/>
                  <a:gd name="connsiteX69" fmla="*/ 665890 w 1257300"/>
                  <a:gd name="connsiteY69" fmla="*/ 161925 h 1049338"/>
                  <a:gd name="connsiteX70" fmla="*/ 673637 w 1257300"/>
                  <a:gd name="connsiteY70" fmla="*/ 159063 h 1049338"/>
                  <a:gd name="connsiteX71" fmla="*/ 673637 w 1257300"/>
                  <a:gd name="connsiteY71" fmla="*/ 142607 h 1049338"/>
                  <a:gd name="connsiteX72" fmla="*/ 644056 w 1257300"/>
                  <a:gd name="connsiteY72" fmla="*/ 111841 h 1049338"/>
                  <a:gd name="connsiteX73" fmla="*/ 673637 w 1257300"/>
                  <a:gd name="connsiteY73" fmla="*/ 81074 h 1049338"/>
                  <a:gd name="connsiteX74" fmla="*/ 673637 w 1257300"/>
                  <a:gd name="connsiteY74" fmla="*/ 64618 h 1049338"/>
                  <a:gd name="connsiteX75" fmla="*/ 657438 w 1257300"/>
                  <a:gd name="connsiteY75" fmla="*/ 64618 h 1049338"/>
                  <a:gd name="connsiteX76" fmla="*/ 627857 w 1257300"/>
                  <a:gd name="connsiteY76" fmla="*/ 95384 h 1049338"/>
                  <a:gd name="connsiteX77" fmla="*/ 598275 w 1257300"/>
                  <a:gd name="connsiteY77" fmla="*/ 64618 h 1049338"/>
                  <a:gd name="connsiteX78" fmla="*/ 582076 w 1257300"/>
                  <a:gd name="connsiteY78" fmla="*/ 64618 h 1049338"/>
                  <a:gd name="connsiteX79" fmla="*/ 627856 w 1257300"/>
                  <a:gd name="connsiteY79" fmla="*/ 0 h 1049338"/>
                  <a:gd name="connsiteX80" fmla="*/ 739775 w 1257300"/>
                  <a:gd name="connsiteY80" fmla="*/ 111562 h 1049338"/>
                  <a:gd name="connsiteX81" fmla="*/ 627856 w 1257300"/>
                  <a:gd name="connsiteY81" fmla="*/ 223838 h 1049338"/>
                  <a:gd name="connsiteX82" fmla="*/ 518076 w 1257300"/>
                  <a:gd name="connsiteY82" fmla="*/ 133016 h 1049338"/>
                  <a:gd name="connsiteX83" fmla="*/ 515937 w 1257300"/>
                  <a:gd name="connsiteY83" fmla="*/ 110846 h 1049338"/>
                  <a:gd name="connsiteX84" fmla="*/ 516650 w 1257300"/>
                  <a:gd name="connsiteY84" fmla="*/ 100119 h 1049338"/>
                  <a:gd name="connsiteX85" fmla="*/ 627856 w 1257300"/>
                  <a:gd name="connsiteY85" fmla="*/ 0 h 1049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257300" h="1049338">
                    <a:moveTo>
                      <a:pt x="1202365" y="890162"/>
                    </a:moveTo>
                    <a:cubicBezTo>
                      <a:pt x="1199524" y="890073"/>
                      <a:pt x="1196684" y="891145"/>
                      <a:pt x="1194553" y="893290"/>
                    </a:cubicBezTo>
                    <a:cubicBezTo>
                      <a:pt x="1194553" y="893290"/>
                      <a:pt x="1194553" y="893290"/>
                      <a:pt x="1188871" y="899010"/>
                    </a:cubicBezTo>
                    <a:cubicBezTo>
                      <a:pt x="1188871" y="899010"/>
                      <a:pt x="1188871" y="899010"/>
                      <a:pt x="1131345" y="956209"/>
                    </a:cubicBezTo>
                    <a:cubicBezTo>
                      <a:pt x="1131345" y="956209"/>
                      <a:pt x="1131345" y="956209"/>
                      <a:pt x="1099386" y="929754"/>
                    </a:cubicBezTo>
                    <a:cubicBezTo>
                      <a:pt x="1094414" y="925464"/>
                      <a:pt x="1087312" y="926179"/>
                      <a:pt x="1083761" y="931184"/>
                    </a:cubicBezTo>
                    <a:cubicBezTo>
                      <a:pt x="1079500" y="936189"/>
                      <a:pt x="1080210" y="943339"/>
                      <a:pt x="1085182" y="947629"/>
                    </a:cubicBezTo>
                    <a:cubicBezTo>
                      <a:pt x="1085182" y="947629"/>
                      <a:pt x="1085182" y="947629"/>
                      <a:pt x="1124953" y="979803"/>
                    </a:cubicBezTo>
                    <a:cubicBezTo>
                      <a:pt x="1127084" y="981233"/>
                      <a:pt x="1129214" y="982663"/>
                      <a:pt x="1132055" y="982663"/>
                    </a:cubicBezTo>
                    <a:cubicBezTo>
                      <a:pt x="1134186" y="982663"/>
                      <a:pt x="1137026" y="981233"/>
                      <a:pt x="1139157" y="979088"/>
                    </a:cubicBezTo>
                    <a:cubicBezTo>
                      <a:pt x="1139157" y="979088"/>
                      <a:pt x="1139157" y="979088"/>
                      <a:pt x="1210177" y="909735"/>
                    </a:cubicBezTo>
                    <a:cubicBezTo>
                      <a:pt x="1213728" y="906160"/>
                      <a:pt x="1214438" y="900440"/>
                      <a:pt x="1212308" y="896150"/>
                    </a:cubicBezTo>
                    <a:cubicBezTo>
                      <a:pt x="1211597" y="895435"/>
                      <a:pt x="1210887" y="894720"/>
                      <a:pt x="1210177" y="894005"/>
                    </a:cubicBezTo>
                    <a:cubicBezTo>
                      <a:pt x="1208047" y="891503"/>
                      <a:pt x="1205206" y="890251"/>
                      <a:pt x="1202365" y="890162"/>
                    </a:cubicBezTo>
                    <a:close/>
                    <a:moveTo>
                      <a:pt x="111919" y="877406"/>
                    </a:moveTo>
                    <a:cubicBezTo>
                      <a:pt x="107668" y="881687"/>
                      <a:pt x="106960" y="888822"/>
                      <a:pt x="111210" y="893816"/>
                    </a:cubicBezTo>
                    <a:cubicBezTo>
                      <a:pt x="111210" y="893816"/>
                      <a:pt x="111210" y="893816"/>
                      <a:pt x="140963" y="927350"/>
                    </a:cubicBezTo>
                    <a:cubicBezTo>
                      <a:pt x="140963" y="927350"/>
                      <a:pt x="140963" y="927350"/>
                      <a:pt x="57372" y="927350"/>
                    </a:cubicBezTo>
                    <a:cubicBezTo>
                      <a:pt x="50996" y="927350"/>
                      <a:pt x="46037" y="932344"/>
                      <a:pt x="46037" y="938766"/>
                    </a:cubicBezTo>
                    <a:cubicBezTo>
                      <a:pt x="46037" y="945187"/>
                      <a:pt x="50996" y="950181"/>
                      <a:pt x="57372" y="950181"/>
                    </a:cubicBezTo>
                    <a:cubicBezTo>
                      <a:pt x="57372" y="950181"/>
                      <a:pt x="57372" y="950181"/>
                      <a:pt x="140255" y="950181"/>
                    </a:cubicBezTo>
                    <a:cubicBezTo>
                      <a:pt x="140255" y="950181"/>
                      <a:pt x="140255" y="950181"/>
                      <a:pt x="111210" y="980861"/>
                    </a:cubicBezTo>
                    <a:cubicBezTo>
                      <a:pt x="106960" y="985142"/>
                      <a:pt x="106960" y="992990"/>
                      <a:pt x="111919" y="997271"/>
                    </a:cubicBezTo>
                    <a:cubicBezTo>
                      <a:pt x="114044" y="999412"/>
                      <a:pt x="116878" y="1000125"/>
                      <a:pt x="119711" y="1000125"/>
                    </a:cubicBezTo>
                    <a:cubicBezTo>
                      <a:pt x="122545" y="1000125"/>
                      <a:pt x="125378" y="998698"/>
                      <a:pt x="128212" y="996558"/>
                    </a:cubicBezTo>
                    <a:cubicBezTo>
                      <a:pt x="128212" y="996558"/>
                      <a:pt x="128212" y="996558"/>
                      <a:pt x="174258" y="946614"/>
                    </a:cubicBezTo>
                    <a:cubicBezTo>
                      <a:pt x="174967" y="946614"/>
                      <a:pt x="174967" y="946614"/>
                      <a:pt x="174967" y="946614"/>
                    </a:cubicBezTo>
                    <a:cubicBezTo>
                      <a:pt x="174967" y="945900"/>
                      <a:pt x="175675" y="945900"/>
                      <a:pt x="175675" y="945187"/>
                    </a:cubicBezTo>
                    <a:cubicBezTo>
                      <a:pt x="175675" y="945187"/>
                      <a:pt x="175675" y="945187"/>
                      <a:pt x="176383" y="944473"/>
                    </a:cubicBezTo>
                    <a:cubicBezTo>
                      <a:pt x="176383" y="944473"/>
                      <a:pt x="176383" y="944473"/>
                      <a:pt x="176383" y="943760"/>
                    </a:cubicBezTo>
                    <a:cubicBezTo>
                      <a:pt x="177092" y="943760"/>
                      <a:pt x="177092" y="943046"/>
                      <a:pt x="177092" y="943046"/>
                    </a:cubicBezTo>
                    <a:cubicBezTo>
                      <a:pt x="177092" y="943046"/>
                      <a:pt x="177092" y="943046"/>
                      <a:pt x="177092" y="942333"/>
                    </a:cubicBezTo>
                    <a:cubicBezTo>
                      <a:pt x="177092" y="942333"/>
                      <a:pt x="177092" y="941620"/>
                      <a:pt x="177092" y="940906"/>
                    </a:cubicBezTo>
                    <a:cubicBezTo>
                      <a:pt x="177800" y="940906"/>
                      <a:pt x="177800" y="940906"/>
                      <a:pt x="177800" y="940906"/>
                    </a:cubicBezTo>
                    <a:cubicBezTo>
                      <a:pt x="177800" y="940193"/>
                      <a:pt x="177800" y="939479"/>
                      <a:pt x="177800" y="938766"/>
                    </a:cubicBezTo>
                    <a:cubicBezTo>
                      <a:pt x="177800" y="938766"/>
                      <a:pt x="177800" y="938766"/>
                      <a:pt x="177800" y="938052"/>
                    </a:cubicBezTo>
                    <a:cubicBezTo>
                      <a:pt x="177800" y="938052"/>
                      <a:pt x="177800" y="937339"/>
                      <a:pt x="177800" y="936625"/>
                    </a:cubicBezTo>
                    <a:cubicBezTo>
                      <a:pt x="177092" y="936625"/>
                      <a:pt x="177092" y="936625"/>
                      <a:pt x="177092" y="935912"/>
                    </a:cubicBezTo>
                    <a:cubicBezTo>
                      <a:pt x="177092" y="935912"/>
                      <a:pt x="177092" y="935198"/>
                      <a:pt x="177092" y="934485"/>
                    </a:cubicBezTo>
                    <a:cubicBezTo>
                      <a:pt x="177092" y="934485"/>
                      <a:pt x="177092" y="934485"/>
                      <a:pt x="176383" y="934485"/>
                    </a:cubicBezTo>
                    <a:cubicBezTo>
                      <a:pt x="176383" y="933771"/>
                      <a:pt x="176383" y="933058"/>
                      <a:pt x="175675" y="932344"/>
                    </a:cubicBezTo>
                    <a:cubicBezTo>
                      <a:pt x="174967" y="931631"/>
                      <a:pt x="174967" y="931631"/>
                      <a:pt x="174967" y="930917"/>
                    </a:cubicBezTo>
                    <a:cubicBezTo>
                      <a:pt x="174967" y="930917"/>
                      <a:pt x="174967" y="930917"/>
                      <a:pt x="128212" y="878120"/>
                    </a:cubicBezTo>
                    <a:cubicBezTo>
                      <a:pt x="123962" y="873839"/>
                      <a:pt x="116878" y="873125"/>
                      <a:pt x="111919" y="877406"/>
                    </a:cubicBezTo>
                    <a:close/>
                    <a:moveTo>
                      <a:pt x="1146614" y="825500"/>
                    </a:moveTo>
                    <a:cubicBezTo>
                      <a:pt x="1165062" y="825500"/>
                      <a:pt x="1182800" y="829788"/>
                      <a:pt x="1197700" y="838363"/>
                    </a:cubicBezTo>
                    <a:cubicBezTo>
                      <a:pt x="1207633" y="843366"/>
                      <a:pt x="1216857" y="849798"/>
                      <a:pt x="1224662" y="857658"/>
                    </a:cubicBezTo>
                    <a:cubicBezTo>
                      <a:pt x="1245238" y="878383"/>
                      <a:pt x="1257300" y="906253"/>
                      <a:pt x="1257300" y="936982"/>
                    </a:cubicBezTo>
                    <a:cubicBezTo>
                      <a:pt x="1257300" y="997726"/>
                      <a:pt x="1207633" y="1047750"/>
                      <a:pt x="1146614" y="1047750"/>
                    </a:cubicBezTo>
                    <a:cubicBezTo>
                      <a:pt x="1086304" y="1047750"/>
                      <a:pt x="1036637" y="997726"/>
                      <a:pt x="1036637" y="936268"/>
                    </a:cubicBezTo>
                    <a:cubicBezTo>
                      <a:pt x="1036637" y="874810"/>
                      <a:pt x="1086304" y="825500"/>
                      <a:pt x="1146614" y="825500"/>
                    </a:cubicBezTo>
                    <a:close/>
                    <a:moveTo>
                      <a:pt x="111919" y="825500"/>
                    </a:moveTo>
                    <a:cubicBezTo>
                      <a:pt x="173618" y="825500"/>
                      <a:pt x="223838" y="875560"/>
                      <a:pt x="223838" y="937777"/>
                    </a:cubicBezTo>
                    <a:cubicBezTo>
                      <a:pt x="223838" y="974249"/>
                      <a:pt x="205903" y="1006430"/>
                      <a:pt x="179358" y="1026454"/>
                    </a:cubicBezTo>
                    <a:cubicBezTo>
                      <a:pt x="170748" y="1032890"/>
                      <a:pt x="161422" y="1037896"/>
                      <a:pt x="151378" y="1042187"/>
                    </a:cubicBezTo>
                    <a:cubicBezTo>
                      <a:pt x="139182" y="1046478"/>
                      <a:pt x="125550" y="1049338"/>
                      <a:pt x="111919" y="1049338"/>
                    </a:cubicBezTo>
                    <a:cubicBezTo>
                      <a:pt x="50220" y="1049338"/>
                      <a:pt x="0" y="999279"/>
                      <a:pt x="0" y="937062"/>
                    </a:cubicBezTo>
                    <a:cubicBezTo>
                      <a:pt x="0" y="874845"/>
                      <a:pt x="50220" y="825500"/>
                      <a:pt x="111919" y="825500"/>
                    </a:cubicBezTo>
                    <a:close/>
                    <a:moveTo>
                      <a:pt x="582076" y="64618"/>
                    </a:moveTo>
                    <a:cubicBezTo>
                      <a:pt x="577850" y="69627"/>
                      <a:pt x="577850" y="76781"/>
                      <a:pt x="582076" y="81074"/>
                    </a:cubicBezTo>
                    <a:cubicBezTo>
                      <a:pt x="582076" y="81074"/>
                      <a:pt x="582076" y="81074"/>
                      <a:pt x="590528" y="89660"/>
                    </a:cubicBezTo>
                    <a:cubicBezTo>
                      <a:pt x="590528" y="89660"/>
                      <a:pt x="590528" y="89660"/>
                      <a:pt x="611657" y="111841"/>
                    </a:cubicBezTo>
                    <a:cubicBezTo>
                      <a:pt x="611657" y="111841"/>
                      <a:pt x="611657" y="111841"/>
                      <a:pt x="603206" y="120427"/>
                    </a:cubicBezTo>
                    <a:cubicBezTo>
                      <a:pt x="603206" y="120427"/>
                      <a:pt x="603206" y="120427"/>
                      <a:pt x="582076" y="142607"/>
                    </a:cubicBezTo>
                    <a:cubicBezTo>
                      <a:pt x="577850" y="146900"/>
                      <a:pt x="577850" y="154055"/>
                      <a:pt x="582076" y="159063"/>
                    </a:cubicBezTo>
                    <a:cubicBezTo>
                      <a:pt x="584189" y="161210"/>
                      <a:pt x="587006" y="161925"/>
                      <a:pt x="589824" y="161925"/>
                    </a:cubicBezTo>
                    <a:cubicBezTo>
                      <a:pt x="592641" y="161925"/>
                      <a:pt x="595458" y="161210"/>
                      <a:pt x="598275" y="159063"/>
                    </a:cubicBezTo>
                    <a:cubicBezTo>
                      <a:pt x="598275" y="159063"/>
                      <a:pt x="598275" y="159063"/>
                      <a:pt x="627857" y="128297"/>
                    </a:cubicBezTo>
                    <a:cubicBezTo>
                      <a:pt x="627857" y="128297"/>
                      <a:pt x="627857" y="128297"/>
                      <a:pt x="657438" y="159063"/>
                    </a:cubicBezTo>
                    <a:cubicBezTo>
                      <a:pt x="660255" y="161210"/>
                      <a:pt x="663073" y="161925"/>
                      <a:pt x="665890" y="161925"/>
                    </a:cubicBezTo>
                    <a:cubicBezTo>
                      <a:pt x="668707" y="161925"/>
                      <a:pt x="671524" y="161210"/>
                      <a:pt x="673637" y="159063"/>
                    </a:cubicBezTo>
                    <a:cubicBezTo>
                      <a:pt x="677863" y="154055"/>
                      <a:pt x="677863" y="146900"/>
                      <a:pt x="673637" y="142607"/>
                    </a:cubicBezTo>
                    <a:cubicBezTo>
                      <a:pt x="673637" y="142607"/>
                      <a:pt x="673637" y="142607"/>
                      <a:pt x="644056" y="111841"/>
                    </a:cubicBezTo>
                    <a:cubicBezTo>
                      <a:pt x="644056" y="111841"/>
                      <a:pt x="644056" y="111841"/>
                      <a:pt x="673637" y="81074"/>
                    </a:cubicBezTo>
                    <a:cubicBezTo>
                      <a:pt x="677863" y="76781"/>
                      <a:pt x="677863" y="69627"/>
                      <a:pt x="673637" y="64618"/>
                    </a:cubicBezTo>
                    <a:cubicBezTo>
                      <a:pt x="669411" y="60325"/>
                      <a:pt x="662368" y="60325"/>
                      <a:pt x="657438" y="64618"/>
                    </a:cubicBezTo>
                    <a:cubicBezTo>
                      <a:pt x="657438" y="64618"/>
                      <a:pt x="657438" y="64618"/>
                      <a:pt x="627857" y="95384"/>
                    </a:cubicBezTo>
                    <a:cubicBezTo>
                      <a:pt x="627857" y="95384"/>
                      <a:pt x="627857" y="95384"/>
                      <a:pt x="598275" y="64618"/>
                    </a:cubicBezTo>
                    <a:cubicBezTo>
                      <a:pt x="593345" y="60325"/>
                      <a:pt x="586302" y="60325"/>
                      <a:pt x="582076" y="64618"/>
                    </a:cubicBezTo>
                    <a:close/>
                    <a:moveTo>
                      <a:pt x="627856" y="0"/>
                    </a:moveTo>
                    <a:cubicBezTo>
                      <a:pt x="689875" y="0"/>
                      <a:pt x="739775" y="50060"/>
                      <a:pt x="739775" y="111562"/>
                    </a:cubicBezTo>
                    <a:cubicBezTo>
                      <a:pt x="739775" y="173779"/>
                      <a:pt x="689875" y="223838"/>
                      <a:pt x="627856" y="223838"/>
                    </a:cubicBezTo>
                    <a:cubicBezTo>
                      <a:pt x="573679" y="223123"/>
                      <a:pt x="527343" y="184506"/>
                      <a:pt x="518076" y="133016"/>
                    </a:cubicBezTo>
                    <a:cubicBezTo>
                      <a:pt x="516650" y="125149"/>
                      <a:pt x="515937" y="117998"/>
                      <a:pt x="515937" y="110846"/>
                    </a:cubicBezTo>
                    <a:cubicBezTo>
                      <a:pt x="515937" y="107271"/>
                      <a:pt x="515937" y="103695"/>
                      <a:pt x="516650" y="100119"/>
                    </a:cubicBezTo>
                    <a:cubicBezTo>
                      <a:pt x="521640" y="43624"/>
                      <a:pt x="570115" y="0"/>
                      <a:pt x="6278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9805D2F-5D78-4302-B3CB-7F346D6E525F}"/>
              </a:ext>
            </a:extLst>
          </p:cNvPr>
          <p:cNvGrpSpPr>
            <a:grpSpLocks noChangeAspect="1"/>
          </p:cNvGrpSpPr>
          <p:nvPr/>
        </p:nvGrpSpPr>
        <p:grpSpPr>
          <a:xfrm>
            <a:off x="5717767" y="840877"/>
            <a:ext cx="829292" cy="828492"/>
            <a:chOff x="6464300" y="2606675"/>
            <a:chExt cx="1646238" cy="1644650"/>
          </a:xfrm>
        </p:grpSpPr>
        <p:sp>
          <p:nvSpPr>
            <p:cNvPr id="37" name="AutoShape 3">
              <a:extLst>
                <a:ext uri="{FF2B5EF4-FFF2-40B4-BE49-F238E27FC236}">
                  <a16:creationId xmlns:a16="http://schemas.microsoft.com/office/drawing/2014/main" id="{6236A1C1-AE11-4237-B384-AD71654D87F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E4103FC-9B73-4472-8B36-81E31BA96A58}"/>
                </a:ext>
              </a:extLst>
            </p:cNvPr>
            <p:cNvGrpSpPr/>
            <p:nvPr/>
          </p:nvGrpSpPr>
          <p:grpSpPr>
            <a:xfrm>
              <a:off x="6634163" y="2962275"/>
              <a:ext cx="1306513" cy="933450"/>
              <a:chOff x="6634163" y="2962275"/>
              <a:chExt cx="1306513" cy="933450"/>
            </a:xfrm>
          </p:grpSpPr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592A0532-D0CF-45C5-9661-52BA22066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4163" y="2962275"/>
                <a:ext cx="1306513" cy="933450"/>
              </a:xfrm>
              <a:custGeom>
                <a:avLst/>
                <a:gdLst>
                  <a:gd name="connsiteX0" fmla="*/ 31750 w 1306513"/>
                  <a:gd name="connsiteY0" fmla="*/ 31750 h 933450"/>
                  <a:gd name="connsiteX1" fmla="*/ 31750 w 1306513"/>
                  <a:gd name="connsiteY1" fmla="*/ 901700 h 933450"/>
                  <a:gd name="connsiteX2" fmla="*/ 1274763 w 1306513"/>
                  <a:gd name="connsiteY2" fmla="*/ 901700 h 933450"/>
                  <a:gd name="connsiteX3" fmla="*/ 1274763 w 1306513"/>
                  <a:gd name="connsiteY3" fmla="*/ 31750 h 933450"/>
                  <a:gd name="connsiteX4" fmla="*/ 31750 w 1306513"/>
                  <a:gd name="connsiteY4" fmla="*/ 31750 h 933450"/>
                  <a:gd name="connsiteX5" fmla="*/ 15724 w 1306513"/>
                  <a:gd name="connsiteY5" fmla="*/ 0 h 933450"/>
                  <a:gd name="connsiteX6" fmla="*/ 1290789 w 1306513"/>
                  <a:gd name="connsiteY6" fmla="*/ 0 h 933450"/>
                  <a:gd name="connsiteX7" fmla="*/ 1306513 w 1306513"/>
                  <a:gd name="connsiteY7" fmla="*/ 15724 h 933450"/>
                  <a:gd name="connsiteX8" fmla="*/ 1306513 w 1306513"/>
                  <a:gd name="connsiteY8" fmla="*/ 917726 h 933450"/>
                  <a:gd name="connsiteX9" fmla="*/ 1290789 w 1306513"/>
                  <a:gd name="connsiteY9" fmla="*/ 933450 h 933450"/>
                  <a:gd name="connsiteX10" fmla="*/ 15724 w 1306513"/>
                  <a:gd name="connsiteY10" fmla="*/ 933450 h 933450"/>
                  <a:gd name="connsiteX11" fmla="*/ 0 w 1306513"/>
                  <a:gd name="connsiteY11" fmla="*/ 917726 h 933450"/>
                  <a:gd name="connsiteX12" fmla="*/ 0 w 1306513"/>
                  <a:gd name="connsiteY12" fmla="*/ 15724 h 933450"/>
                  <a:gd name="connsiteX13" fmla="*/ 15724 w 1306513"/>
                  <a:gd name="connsiteY13" fmla="*/ 0 h 933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06513" h="933450">
                    <a:moveTo>
                      <a:pt x="31750" y="31750"/>
                    </a:moveTo>
                    <a:cubicBezTo>
                      <a:pt x="31750" y="31750"/>
                      <a:pt x="31750" y="31750"/>
                      <a:pt x="31750" y="901700"/>
                    </a:cubicBezTo>
                    <a:cubicBezTo>
                      <a:pt x="31750" y="901700"/>
                      <a:pt x="31750" y="901700"/>
                      <a:pt x="1274763" y="901700"/>
                    </a:cubicBezTo>
                    <a:cubicBezTo>
                      <a:pt x="1274763" y="901700"/>
                      <a:pt x="1274763" y="901700"/>
                      <a:pt x="1274763" y="31750"/>
                    </a:cubicBezTo>
                    <a:cubicBezTo>
                      <a:pt x="1274763" y="31750"/>
                      <a:pt x="1274763" y="31750"/>
                      <a:pt x="31750" y="31750"/>
                    </a:cubicBezTo>
                    <a:close/>
                    <a:moveTo>
                      <a:pt x="15724" y="0"/>
                    </a:moveTo>
                    <a:cubicBezTo>
                      <a:pt x="15724" y="0"/>
                      <a:pt x="15724" y="0"/>
                      <a:pt x="1290789" y="0"/>
                    </a:cubicBezTo>
                    <a:cubicBezTo>
                      <a:pt x="1299366" y="0"/>
                      <a:pt x="1306513" y="6433"/>
                      <a:pt x="1306513" y="15724"/>
                    </a:cubicBezTo>
                    <a:cubicBezTo>
                      <a:pt x="1306513" y="15724"/>
                      <a:pt x="1306513" y="15724"/>
                      <a:pt x="1306513" y="917726"/>
                    </a:cubicBezTo>
                    <a:cubicBezTo>
                      <a:pt x="1306513" y="927017"/>
                      <a:pt x="1299366" y="933450"/>
                      <a:pt x="1290789" y="933450"/>
                    </a:cubicBezTo>
                    <a:cubicBezTo>
                      <a:pt x="1290789" y="933450"/>
                      <a:pt x="1290789" y="933450"/>
                      <a:pt x="15724" y="933450"/>
                    </a:cubicBezTo>
                    <a:cubicBezTo>
                      <a:pt x="7147" y="933450"/>
                      <a:pt x="0" y="927017"/>
                      <a:pt x="0" y="917726"/>
                    </a:cubicBezTo>
                    <a:cubicBezTo>
                      <a:pt x="0" y="917726"/>
                      <a:pt x="0" y="917726"/>
                      <a:pt x="0" y="15724"/>
                    </a:cubicBezTo>
                    <a:cubicBezTo>
                      <a:pt x="0" y="6433"/>
                      <a:pt x="7147" y="0"/>
                      <a:pt x="1572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1FA9BA52-7AEE-4BA4-B1DF-70A946E2BC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7663" y="3025775"/>
                <a:ext cx="1179513" cy="806450"/>
              </a:xfrm>
              <a:custGeom>
                <a:avLst/>
                <a:gdLst>
                  <a:gd name="connsiteX0" fmla="*/ 776109 w 1179513"/>
                  <a:gd name="connsiteY0" fmla="*/ 581025 h 806450"/>
                  <a:gd name="connsiteX1" fmla="*/ 760412 w 1179513"/>
                  <a:gd name="connsiteY1" fmla="*/ 596900 h 806450"/>
                  <a:gd name="connsiteX2" fmla="*/ 776109 w 1179513"/>
                  <a:gd name="connsiteY2" fmla="*/ 612775 h 806450"/>
                  <a:gd name="connsiteX3" fmla="*/ 998716 w 1179513"/>
                  <a:gd name="connsiteY3" fmla="*/ 612775 h 806450"/>
                  <a:gd name="connsiteX4" fmla="*/ 1014412 w 1179513"/>
                  <a:gd name="connsiteY4" fmla="*/ 596900 h 806450"/>
                  <a:gd name="connsiteX5" fmla="*/ 998716 w 1179513"/>
                  <a:gd name="connsiteY5" fmla="*/ 581025 h 806450"/>
                  <a:gd name="connsiteX6" fmla="*/ 776109 w 1179513"/>
                  <a:gd name="connsiteY6" fmla="*/ 581025 h 806450"/>
                  <a:gd name="connsiteX7" fmla="*/ 776059 w 1179513"/>
                  <a:gd name="connsiteY7" fmla="*/ 517525 h 806450"/>
                  <a:gd name="connsiteX8" fmla="*/ 760412 w 1179513"/>
                  <a:gd name="connsiteY8" fmla="*/ 532607 h 806450"/>
                  <a:gd name="connsiteX9" fmla="*/ 776059 w 1179513"/>
                  <a:gd name="connsiteY9" fmla="*/ 547688 h 806450"/>
                  <a:gd name="connsiteX10" fmla="*/ 1032103 w 1179513"/>
                  <a:gd name="connsiteY10" fmla="*/ 547688 h 806450"/>
                  <a:gd name="connsiteX11" fmla="*/ 1047750 w 1179513"/>
                  <a:gd name="connsiteY11" fmla="*/ 532607 h 806450"/>
                  <a:gd name="connsiteX12" fmla="*/ 1032103 w 1179513"/>
                  <a:gd name="connsiteY12" fmla="*/ 517525 h 806450"/>
                  <a:gd name="connsiteX13" fmla="*/ 776059 w 1179513"/>
                  <a:gd name="connsiteY13" fmla="*/ 517525 h 806450"/>
                  <a:gd name="connsiteX14" fmla="*/ 776059 w 1179513"/>
                  <a:gd name="connsiteY14" fmla="*/ 450850 h 806450"/>
                  <a:gd name="connsiteX15" fmla="*/ 760412 w 1179513"/>
                  <a:gd name="connsiteY15" fmla="*/ 466725 h 806450"/>
                  <a:gd name="connsiteX16" fmla="*/ 776059 w 1179513"/>
                  <a:gd name="connsiteY16" fmla="*/ 482600 h 806450"/>
                  <a:gd name="connsiteX17" fmla="*/ 1032103 w 1179513"/>
                  <a:gd name="connsiteY17" fmla="*/ 482600 h 806450"/>
                  <a:gd name="connsiteX18" fmla="*/ 1047750 w 1179513"/>
                  <a:gd name="connsiteY18" fmla="*/ 466725 h 806450"/>
                  <a:gd name="connsiteX19" fmla="*/ 1032103 w 1179513"/>
                  <a:gd name="connsiteY19" fmla="*/ 450850 h 806450"/>
                  <a:gd name="connsiteX20" fmla="*/ 776059 w 1179513"/>
                  <a:gd name="connsiteY20" fmla="*/ 450850 h 806450"/>
                  <a:gd name="connsiteX21" fmla="*/ 482600 w 1179513"/>
                  <a:gd name="connsiteY21" fmla="*/ 258763 h 806450"/>
                  <a:gd name="connsiteX22" fmla="*/ 666510 w 1179513"/>
                  <a:gd name="connsiteY22" fmla="*/ 258763 h 806450"/>
                  <a:gd name="connsiteX23" fmla="*/ 709613 w 1179513"/>
                  <a:gd name="connsiteY23" fmla="*/ 306388 h 806450"/>
                  <a:gd name="connsiteX24" fmla="*/ 666510 w 1179513"/>
                  <a:gd name="connsiteY24" fmla="*/ 354013 h 806450"/>
                  <a:gd name="connsiteX25" fmla="*/ 482600 w 1179513"/>
                  <a:gd name="connsiteY25" fmla="*/ 354013 h 806450"/>
                  <a:gd name="connsiteX26" fmla="*/ 515646 w 1179513"/>
                  <a:gd name="connsiteY26" fmla="*/ 317212 h 806450"/>
                  <a:gd name="connsiteX27" fmla="*/ 515646 w 1179513"/>
                  <a:gd name="connsiteY27" fmla="*/ 295564 h 806450"/>
                  <a:gd name="connsiteX28" fmla="*/ 482600 w 1179513"/>
                  <a:gd name="connsiteY28" fmla="*/ 258763 h 806450"/>
                  <a:gd name="connsiteX29" fmla="*/ 134937 w 1179513"/>
                  <a:gd name="connsiteY29" fmla="*/ 258763 h 806450"/>
                  <a:gd name="connsiteX30" fmla="*/ 338082 w 1179513"/>
                  <a:gd name="connsiteY30" fmla="*/ 258763 h 806450"/>
                  <a:gd name="connsiteX31" fmla="*/ 381000 w 1179513"/>
                  <a:gd name="connsiteY31" fmla="*/ 306388 h 806450"/>
                  <a:gd name="connsiteX32" fmla="*/ 338082 w 1179513"/>
                  <a:gd name="connsiteY32" fmla="*/ 354013 h 806450"/>
                  <a:gd name="connsiteX33" fmla="*/ 134937 w 1179513"/>
                  <a:gd name="connsiteY33" fmla="*/ 354013 h 806450"/>
                  <a:gd name="connsiteX34" fmla="*/ 134937 w 1179513"/>
                  <a:gd name="connsiteY34" fmla="*/ 258763 h 806450"/>
                  <a:gd name="connsiteX35" fmla="*/ 775940 w 1179513"/>
                  <a:gd name="connsiteY35" fmla="*/ 227013 h 806450"/>
                  <a:gd name="connsiteX36" fmla="*/ 761678 w 1179513"/>
                  <a:gd name="connsiteY36" fmla="*/ 236300 h 806450"/>
                  <a:gd name="connsiteX37" fmla="*/ 764530 w 1179513"/>
                  <a:gd name="connsiteY37" fmla="*/ 253445 h 806450"/>
                  <a:gd name="connsiteX38" fmla="*/ 811596 w 1179513"/>
                  <a:gd name="connsiteY38" fmla="*/ 305595 h 806450"/>
                  <a:gd name="connsiteX39" fmla="*/ 764530 w 1179513"/>
                  <a:gd name="connsiteY39" fmla="*/ 357744 h 806450"/>
                  <a:gd name="connsiteX40" fmla="*/ 761678 w 1179513"/>
                  <a:gd name="connsiteY40" fmla="*/ 374889 h 806450"/>
                  <a:gd name="connsiteX41" fmla="*/ 775940 w 1179513"/>
                  <a:gd name="connsiteY41" fmla="*/ 384176 h 806450"/>
                  <a:gd name="connsiteX42" fmla="*/ 1000574 w 1179513"/>
                  <a:gd name="connsiteY42" fmla="*/ 384176 h 806450"/>
                  <a:gd name="connsiteX43" fmla="*/ 1011984 w 1179513"/>
                  <a:gd name="connsiteY43" fmla="*/ 379175 h 806450"/>
                  <a:gd name="connsiteX44" fmla="*/ 1069033 w 1179513"/>
                  <a:gd name="connsiteY44" fmla="*/ 316310 h 806450"/>
                  <a:gd name="connsiteX45" fmla="*/ 1069033 w 1179513"/>
                  <a:gd name="connsiteY45" fmla="*/ 294879 h 806450"/>
                  <a:gd name="connsiteX46" fmla="*/ 1011984 w 1179513"/>
                  <a:gd name="connsiteY46" fmla="*/ 232014 h 806450"/>
                  <a:gd name="connsiteX47" fmla="*/ 1000574 w 1179513"/>
                  <a:gd name="connsiteY47" fmla="*/ 227013 h 806450"/>
                  <a:gd name="connsiteX48" fmla="*/ 775940 w 1179513"/>
                  <a:gd name="connsiteY48" fmla="*/ 227013 h 806450"/>
                  <a:gd name="connsiteX49" fmla="*/ 447374 w 1179513"/>
                  <a:gd name="connsiteY49" fmla="*/ 227013 h 806450"/>
                  <a:gd name="connsiteX50" fmla="*/ 433073 w 1179513"/>
                  <a:gd name="connsiteY50" fmla="*/ 236300 h 806450"/>
                  <a:gd name="connsiteX51" fmla="*/ 435933 w 1179513"/>
                  <a:gd name="connsiteY51" fmla="*/ 253445 h 806450"/>
                  <a:gd name="connsiteX52" fmla="*/ 483129 w 1179513"/>
                  <a:gd name="connsiteY52" fmla="*/ 305595 h 806450"/>
                  <a:gd name="connsiteX53" fmla="*/ 435933 w 1179513"/>
                  <a:gd name="connsiteY53" fmla="*/ 357744 h 806450"/>
                  <a:gd name="connsiteX54" fmla="*/ 433073 w 1179513"/>
                  <a:gd name="connsiteY54" fmla="*/ 374889 h 806450"/>
                  <a:gd name="connsiteX55" fmla="*/ 447374 w 1179513"/>
                  <a:gd name="connsiteY55" fmla="*/ 384176 h 806450"/>
                  <a:gd name="connsiteX56" fmla="*/ 673343 w 1179513"/>
                  <a:gd name="connsiteY56" fmla="*/ 384176 h 806450"/>
                  <a:gd name="connsiteX57" fmla="*/ 684784 w 1179513"/>
                  <a:gd name="connsiteY57" fmla="*/ 379175 h 806450"/>
                  <a:gd name="connsiteX58" fmla="*/ 741992 w 1179513"/>
                  <a:gd name="connsiteY58" fmla="*/ 316310 h 806450"/>
                  <a:gd name="connsiteX59" fmla="*/ 741992 w 1179513"/>
                  <a:gd name="connsiteY59" fmla="*/ 294879 h 806450"/>
                  <a:gd name="connsiteX60" fmla="*/ 684784 w 1179513"/>
                  <a:gd name="connsiteY60" fmla="*/ 232014 h 806450"/>
                  <a:gd name="connsiteX61" fmla="*/ 673343 w 1179513"/>
                  <a:gd name="connsiteY61" fmla="*/ 227013 h 806450"/>
                  <a:gd name="connsiteX62" fmla="*/ 447374 w 1179513"/>
                  <a:gd name="connsiteY62" fmla="*/ 227013 h 806450"/>
                  <a:gd name="connsiteX63" fmla="*/ 120456 w 1179513"/>
                  <a:gd name="connsiteY63" fmla="*/ 227013 h 806450"/>
                  <a:gd name="connsiteX64" fmla="*/ 104775 w 1179513"/>
                  <a:gd name="connsiteY64" fmla="*/ 242729 h 806450"/>
                  <a:gd name="connsiteX65" fmla="*/ 104775 w 1179513"/>
                  <a:gd name="connsiteY65" fmla="*/ 368460 h 806450"/>
                  <a:gd name="connsiteX66" fmla="*/ 120456 w 1179513"/>
                  <a:gd name="connsiteY66" fmla="*/ 384176 h 806450"/>
                  <a:gd name="connsiteX67" fmla="*/ 344974 w 1179513"/>
                  <a:gd name="connsiteY67" fmla="*/ 384176 h 806450"/>
                  <a:gd name="connsiteX68" fmla="*/ 356378 w 1179513"/>
                  <a:gd name="connsiteY68" fmla="*/ 379175 h 806450"/>
                  <a:gd name="connsiteX69" fmla="*/ 413398 w 1179513"/>
                  <a:gd name="connsiteY69" fmla="*/ 316310 h 806450"/>
                  <a:gd name="connsiteX70" fmla="*/ 413398 w 1179513"/>
                  <a:gd name="connsiteY70" fmla="*/ 294879 h 806450"/>
                  <a:gd name="connsiteX71" fmla="*/ 356378 w 1179513"/>
                  <a:gd name="connsiteY71" fmla="*/ 232014 h 806450"/>
                  <a:gd name="connsiteX72" fmla="*/ 344974 w 1179513"/>
                  <a:gd name="connsiteY72" fmla="*/ 227013 h 806450"/>
                  <a:gd name="connsiteX73" fmla="*/ 120456 w 1179513"/>
                  <a:gd name="connsiteY73" fmla="*/ 227013 h 806450"/>
                  <a:gd name="connsiteX74" fmla="*/ 0 w 1179513"/>
                  <a:gd name="connsiteY74" fmla="*/ 0 h 806450"/>
                  <a:gd name="connsiteX75" fmla="*/ 1179513 w 1179513"/>
                  <a:gd name="connsiteY75" fmla="*/ 0 h 806450"/>
                  <a:gd name="connsiteX76" fmla="*/ 1179513 w 1179513"/>
                  <a:gd name="connsiteY76" fmla="*/ 806450 h 806450"/>
                  <a:gd name="connsiteX77" fmla="*/ 0 w 1179513"/>
                  <a:gd name="connsiteY77" fmla="*/ 806450 h 806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179513" h="806450">
                    <a:moveTo>
                      <a:pt x="776109" y="581025"/>
                    </a:moveTo>
                    <a:cubicBezTo>
                      <a:pt x="767547" y="581025"/>
                      <a:pt x="760412" y="588241"/>
                      <a:pt x="760412" y="596900"/>
                    </a:cubicBezTo>
                    <a:cubicBezTo>
                      <a:pt x="760412" y="605559"/>
                      <a:pt x="767547" y="612775"/>
                      <a:pt x="776109" y="612775"/>
                    </a:cubicBezTo>
                    <a:cubicBezTo>
                      <a:pt x="998716" y="612775"/>
                      <a:pt x="998716" y="612775"/>
                      <a:pt x="998716" y="612775"/>
                    </a:cubicBezTo>
                    <a:cubicBezTo>
                      <a:pt x="1007277" y="612775"/>
                      <a:pt x="1014412" y="605559"/>
                      <a:pt x="1014412" y="596900"/>
                    </a:cubicBezTo>
                    <a:cubicBezTo>
                      <a:pt x="1014412" y="588241"/>
                      <a:pt x="1007277" y="581025"/>
                      <a:pt x="998716" y="581025"/>
                    </a:cubicBezTo>
                    <a:cubicBezTo>
                      <a:pt x="776109" y="581025"/>
                      <a:pt x="776109" y="581025"/>
                      <a:pt x="776109" y="581025"/>
                    </a:cubicBezTo>
                    <a:close/>
                    <a:moveTo>
                      <a:pt x="776059" y="517525"/>
                    </a:moveTo>
                    <a:cubicBezTo>
                      <a:pt x="767525" y="517525"/>
                      <a:pt x="760412" y="523695"/>
                      <a:pt x="760412" y="532607"/>
                    </a:cubicBezTo>
                    <a:cubicBezTo>
                      <a:pt x="760412" y="540833"/>
                      <a:pt x="767525" y="547688"/>
                      <a:pt x="776059" y="547688"/>
                    </a:cubicBezTo>
                    <a:cubicBezTo>
                      <a:pt x="1032103" y="547688"/>
                      <a:pt x="1032103" y="547688"/>
                      <a:pt x="1032103" y="547688"/>
                    </a:cubicBezTo>
                    <a:cubicBezTo>
                      <a:pt x="1040638" y="547688"/>
                      <a:pt x="1047750" y="540833"/>
                      <a:pt x="1047750" y="532607"/>
                    </a:cubicBezTo>
                    <a:cubicBezTo>
                      <a:pt x="1047750" y="523695"/>
                      <a:pt x="1040638" y="517525"/>
                      <a:pt x="1032103" y="517525"/>
                    </a:cubicBezTo>
                    <a:cubicBezTo>
                      <a:pt x="776059" y="517525"/>
                      <a:pt x="776059" y="517525"/>
                      <a:pt x="776059" y="517525"/>
                    </a:cubicBezTo>
                    <a:close/>
                    <a:moveTo>
                      <a:pt x="776059" y="450850"/>
                    </a:moveTo>
                    <a:cubicBezTo>
                      <a:pt x="767525" y="450850"/>
                      <a:pt x="760412" y="458066"/>
                      <a:pt x="760412" y="466725"/>
                    </a:cubicBezTo>
                    <a:cubicBezTo>
                      <a:pt x="760412" y="475384"/>
                      <a:pt x="767525" y="482600"/>
                      <a:pt x="776059" y="482600"/>
                    </a:cubicBezTo>
                    <a:cubicBezTo>
                      <a:pt x="1032103" y="482600"/>
                      <a:pt x="1032103" y="482600"/>
                      <a:pt x="1032103" y="482600"/>
                    </a:cubicBezTo>
                    <a:cubicBezTo>
                      <a:pt x="1040638" y="482600"/>
                      <a:pt x="1047750" y="475384"/>
                      <a:pt x="1047750" y="466725"/>
                    </a:cubicBezTo>
                    <a:cubicBezTo>
                      <a:pt x="1047750" y="458066"/>
                      <a:pt x="1040638" y="450850"/>
                      <a:pt x="1032103" y="450850"/>
                    </a:cubicBezTo>
                    <a:cubicBezTo>
                      <a:pt x="776059" y="450850"/>
                      <a:pt x="776059" y="450850"/>
                      <a:pt x="776059" y="450850"/>
                    </a:cubicBezTo>
                    <a:close/>
                    <a:moveTo>
                      <a:pt x="482600" y="258763"/>
                    </a:moveTo>
                    <a:lnTo>
                      <a:pt x="666510" y="258763"/>
                    </a:lnTo>
                    <a:cubicBezTo>
                      <a:pt x="666510" y="258763"/>
                      <a:pt x="666510" y="258763"/>
                      <a:pt x="709613" y="306388"/>
                    </a:cubicBezTo>
                    <a:cubicBezTo>
                      <a:pt x="709613" y="306388"/>
                      <a:pt x="709613" y="306388"/>
                      <a:pt x="666510" y="354013"/>
                    </a:cubicBezTo>
                    <a:cubicBezTo>
                      <a:pt x="666510" y="354013"/>
                      <a:pt x="666510" y="354013"/>
                      <a:pt x="482600" y="354013"/>
                    </a:cubicBezTo>
                    <a:cubicBezTo>
                      <a:pt x="482600" y="354013"/>
                      <a:pt x="482600" y="354013"/>
                      <a:pt x="515646" y="317212"/>
                    </a:cubicBezTo>
                    <a:cubicBezTo>
                      <a:pt x="521394" y="310718"/>
                      <a:pt x="521394" y="301337"/>
                      <a:pt x="515646" y="295564"/>
                    </a:cubicBezTo>
                    <a:cubicBezTo>
                      <a:pt x="515646" y="295564"/>
                      <a:pt x="515646" y="295564"/>
                      <a:pt x="482600" y="258763"/>
                    </a:cubicBezTo>
                    <a:close/>
                    <a:moveTo>
                      <a:pt x="134937" y="258763"/>
                    </a:moveTo>
                    <a:lnTo>
                      <a:pt x="338082" y="258763"/>
                    </a:lnTo>
                    <a:cubicBezTo>
                      <a:pt x="381000" y="306388"/>
                      <a:pt x="381000" y="306388"/>
                      <a:pt x="381000" y="306388"/>
                    </a:cubicBezTo>
                    <a:cubicBezTo>
                      <a:pt x="338082" y="354013"/>
                      <a:pt x="338082" y="354013"/>
                      <a:pt x="338082" y="354013"/>
                    </a:cubicBezTo>
                    <a:cubicBezTo>
                      <a:pt x="134937" y="354013"/>
                      <a:pt x="134937" y="354013"/>
                      <a:pt x="134937" y="354013"/>
                    </a:cubicBezTo>
                    <a:cubicBezTo>
                      <a:pt x="134937" y="258763"/>
                      <a:pt x="134937" y="258763"/>
                      <a:pt x="134937" y="258763"/>
                    </a:cubicBezTo>
                    <a:close/>
                    <a:moveTo>
                      <a:pt x="775940" y="227013"/>
                    </a:moveTo>
                    <a:cubicBezTo>
                      <a:pt x="769522" y="227013"/>
                      <a:pt x="763817" y="230585"/>
                      <a:pt x="761678" y="236300"/>
                    </a:cubicBezTo>
                    <a:cubicBezTo>
                      <a:pt x="758825" y="242015"/>
                      <a:pt x="760251" y="248444"/>
                      <a:pt x="764530" y="253445"/>
                    </a:cubicBezTo>
                    <a:cubicBezTo>
                      <a:pt x="811596" y="305595"/>
                      <a:pt x="811596" y="305595"/>
                      <a:pt x="811596" y="305595"/>
                    </a:cubicBezTo>
                    <a:cubicBezTo>
                      <a:pt x="764530" y="357744"/>
                      <a:pt x="764530" y="357744"/>
                      <a:pt x="764530" y="357744"/>
                    </a:cubicBezTo>
                    <a:cubicBezTo>
                      <a:pt x="760251" y="362745"/>
                      <a:pt x="758825" y="369174"/>
                      <a:pt x="761678" y="374889"/>
                    </a:cubicBezTo>
                    <a:cubicBezTo>
                      <a:pt x="763817" y="380604"/>
                      <a:pt x="769522" y="384176"/>
                      <a:pt x="775940" y="384176"/>
                    </a:cubicBezTo>
                    <a:cubicBezTo>
                      <a:pt x="1000574" y="384176"/>
                      <a:pt x="1000574" y="384176"/>
                      <a:pt x="1000574" y="384176"/>
                    </a:cubicBezTo>
                    <a:cubicBezTo>
                      <a:pt x="1004852" y="384176"/>
                      <a:pt x="1009131" y="382033"/>
                      <a:pt x="1011984" y="379175"/>
                    </a:cubicBezTo>
                    <a:cubicBezTo>
                      <a:pt x="1069033" y="316310"/>
                      <a:pt x="1069033" y="316310"/>
                      <a:pt x="1069033" y="316310"/>
                    </a:cubicBezTo>
                    <a:cubicBezTo>
                      <a:pt x="1074738" y="309881"/>
                      <a:pt x="1074738" y="300594"/>
                      <a:pt x="1069033" y="294879"/>
                    </a:cubicBezTo>
                    <a:cubicBezTo>
                      <a:pt x="1011984" y="232014"/>
                      <a:pt x="1011984" y="232014"/>
                      <a:pt x="1011984" y="232014"/>
                    </a:cubicBezTo>
                    <a:cubicBezTo>
                      <a:pt x="1009131" y="229156"/>
                      <a:pt x="1004852" y="227013"/>
                      <a:pt x="1000574" y="227013"/>
                    </a:cubicBezTo>
                    <a:cubicBezTo>
                      <a:pt x="775940" y="227013"/>
                      <a:pt x="775940" y="227013"/>
                      <a:pt x="775940" y="227013"/>
                    </a:cubicBezTo>
                    <a:close/>
                    <a:moveTo>
                      <a:pt x="447374" y="227013"/>
                    </a:moveTo>
                    <a:cubicBezTo>
                      <a:pt x="440939" y="227013"/>
                      <a:pt x="435218" y="230585"/>
                      <a:pt x="433073" y="236300"/>
                    </a:cubicBezTo>
                    <a:cubicBezTo>
                      <a:pt x="430212" y="242015"/>
                      <a:pt x="431642" y="248444"/>
                      <a:pt x="435933" y="253445"/>
                    </a:cubicBezTo>
                    <a:cubicBezTo>
                      <a:pt x="483129" y="305595"/>
                      <a:pt x="483129" y="305595"/>
                      <a:pt x="483129" y="305595"/>
                    </a:cubicBezTo>
                    <a:cubicBezTo>
                      <a:pt x="435933" y="357744"/>
                      <a:pt x="435933" y="357744"/>
                      <a:pt x="435933" y="357744"/>
                    </a:cubicBezTo>
                    <a:cubicBezTo>
                      <a:pt x="431642" y="362745"/>
                      <a:pt x="430212" y="369174"/>
                      <a:pt x="433073" y="374889"/>
                    </a:cubicBezTo>
                    <a:cubicBezTo>
                      <a:pt x="435218" y="380604"/>
                      <a:pt x="440939" y="384176"/>
                      <a:pt x="447374" y="384176"/>
                    </a:cubicBezTo>
                    <a:cubicBezTo>
                      <a:pt x="673343" y="384176"/>
                      <a:pt x="673343" y="384176"/>
                      <a:pt x="673343" y="384176"/>
                    </a:cubicBezTo>
                    <a:cubicBezTo>
                      <a:pt x="677633" y="384176"/>
                      <a:pt x="681924" y="382033"/>
                      <a:pt x="684784" y="379175"/>
                    </a:cubicBezTo>
                    <a:cubicBezTo>
                      <a:pt x="741992" y="316310"/>
                      <a:pt x="741992" y="316310"/>
                      <a:pt x="741992" y="316310"/>
                    </a:cubicBezTo>
                    <a:cubicBezTo>
                      <a:pt x="747712" y="309881"/>
                      <a:pt x="747712" y="300594"/>
                      <a:pt x="741992" y="294879"/>
                    </a:cubicBezTo>
                    <a:cubicBezTo>
                      <a:pt x="684784" y="232014"/>
                      <a:pt x="684784" y="232014"/>
                      <a:pt x="684784" y="232014"/>
                    </a:cubicBezTo>
                    <a:cubicBezTo>
                      <a:pt x="681924" y="229156"/>
                      <a:pt x="677633" y="227013"/>
                      <a:pt x="673343" y="227013"/>
                    </a:cubicBezTo>
                    <a:cubicBezTo>
                      <a:pt x="447374" y="227013"/>
                      <a:pt x="447374" y="227013"/>
                      <a:pt x="447374" y="227013"/>
                    </a:cubicBezTo>
                    <a:close/>
                    <a:moveTo>
                      <a:pt x="120456" y="227013"/>
                    </a:moveTo>
                    <a:cubicBezTo>
                      <a:pt x="111903" y="227013"/>
                      <a:pt x="104775" y="234157"/>
                      <a:pt x="104775" y="242729"/>
                    </a:cubicBezTo>
                    <a:cubicBezTo>
                      <a:pt x="104775" y="368460"/>
                      <a:pt x="104775" y="368460"/>
                      <a:pt x="104775" y="368460"/>
                    </a:cubicBezTo>
                    <a:cubicBezTo>
                      <a:pt x="104775" y="377032"/>
                      <a:pt x="111903" y="384176"/>
                      <a:pt x="120456" y="384176"/>
                    </a:cubicBezTo>
                    <a:cubicBezTo>
                      <a:pt x="344974" y="384176"/>
                      <a:pt x="344974" y="384176"/>
                      <a:pt x="344974" y="384176"/>
                    </a:cubicBezTo>
                    <a:cubicBezTo>
                      <a:pt x="349250" y="384176"/>
                      <a:pt x="353527" y="382033"/>
                      <a:pt x="356378" y="379175"/>
                    </a:cubicBezTo>
                    <a:cubicBezTo>
                      <a:pt x="413398" y="316310"/>
                      <a:pt x="413398" y="316310"/>
                      <a:pt x="413398" y="316310"/>
                    </a:cubicBezTo>
                    <a:cubicBezTo>
                      <a:pt x="419100" y="309881"/>
                      <a:pt x="419100" y="300594"/>
                      <a:pt x="413398" y="294879"/>
                    </a:cubicBezTo>
                    <a:cubicBezTo>
                      <a:pt x="356378" y="232014"/>
                      <a:pt x="356378" y="232014"/>
                      <a:pt x="356378" y="232014"/>
                    </a:cubicBezTo>
                    <a:cubicBezTo>
                      <a:pt x="353527" y="229156"/>
                      <a:pt x="349250" y="227013"/>
                      <a:pt x="344974" y="227013"/>
                    </a:cubicBezTo>
                    <a:cubicBezTo>
                      <a:pt x="120456" y="227013"/>
                      <a:pt x="120456" y="227013"/>
                      <a:pt x="120456" y="227013"/>
                    </a:cubicBezTo>
                    <a:close/>
                    <a:moveTo>
                      <a:pt x="0" y="0"/>
                    </a:moveTo>
                    <a:lnTo>
                      <a:pt x="1179513" y="0"/>
                    </a:lnTo>
                    <a:lnTo>
                      <a:pt x="1179513" y="806450"/>
                    </a:lnTo>
                    <a:lnTo>
                      <a:pt x="0" y="80645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3A24F8E-9385-403E-AE10-E1181B8337A8}"/>
              </a:ext>
            </a:extLst>
          </p:cNvPr>
          <p:cNvGrpSpPr>
            <a:grpSpLocks noChangeAspect="1"/>
          </p:cNvGrpSpPr>
          <p:nvPr/>
        </p:nvGrpSpPr>
        <p:grpSpPr>
          <a:xfrm>
            <a:off x="6522491" y="2106460"/>
            <a:ext cx="828492" cy="828492"/>
            <a:chOff x="5273675" y="2606675"/>
            <a:chExt cx="1644650" cy="1644650"/>
          </a:xfrm>
        </p:grpSpPr>
        <p:sp>
          <p:nvSpPr>
            <p:cNvPr id="42" name="AutoShape 3">
              <a:extLst>
                <a:ext uri="{FF2B5EF4-FFF2-40B4-BE49-F238E27FC236}">
                  <a16:creationId xmlns:a16="http://schemas.microsoft.com/office/drawing/2014/main" id="{250260FB-3D75-4C58-9033-0A7E08BF839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6EB77A7-D6AC-4399-B9C8-46A5CC11552B}"/>
                </a:ext>
              </a:extLst>
            </p:cNvPr>
            <p:cNvGrpSpPr/>
            <p:nvPr/>
          </p:nvGrpSpPr>
          <p:grpSpPr>
            <a:xfrm>
              <a:off x="5643563" y="2964911"/>
              <a:ext cx="904875" cy="1027652"/>
              <a:chOff x="5643563" y="2964911"/>
              <a:chExt cx="904875" cy="1027652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DCDBCB2-F363-4884-BE61-4567567EB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3563" y="3300413"/>
                <a:ext cx="904875" cy="69215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6">
                <a:extLst>
                  <a:ext uri="{FF2B5EF4-FFF2-40B4-BE49-F238E27FC236}">
                    <a16:creationId xmlns:a16="http://schemas.microsoft.com/office/drawing/2014/main" id="{554A27D3-FA26-46F3-88AA-10F75AEFBA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0809" y="2964911"/>
                <a:ext cx="810380" cy="300577"/>
              </a:xfrm>
              <a:custGeom>
                <a:avLst/>
                <a:gdLst>
                  <a:gd name="connsiteX0" fmla="*/ 776587 w 810380"/>
                  <a:gd name="connsiteY0" fmla="*/ 467 h 300577"/>
                  <a:gd name="connsiteX1" fmla="*/ 797304 w 810380"/>
                  <a:gd name="connsiteY1" fmla="*/ 2533 h 300577"/>
                  <a:gd name="connsiteX2" fmla="*/ 810162 w 810380"/>
                  <a:gd name="connsiteY2" fmla="*/ 20401 h 300577"/>
                  <a:gd name="connsiteX3" fmla="*/ 792303 w 810380"/>
                  <a:gd name="connsiteY3" fmla="*/ 33266 h 300577"/>
                  <a:gd name="connsiteX4" fmla="*/ 614423 w 810380"/>
                  <a:gd name="connsiteY4" fmla="*/ 75436 h 300577"/>
                  <a:gd name="connsiteX5" fmla="*/ 519411 w 810380"/>
                  <a:gd name="connsiteY5" fmla="*/ 256264 h 300577"/>
                  <a:gd name="connsiteX6" fmla="*/ 621567 w 810380"/>
                  <a:gd name="connsiteY6" fmla="*/ 206947 h 300577"/>
                  <a:gd name="connsiteX7" fmla="*/ 642284 w 810380"/>
                  <a:gd name="connsiteY7" fmla="*/ 214094 h 300577"/>
                  <a:gd name="connsiteX8" fmla="*/ 635140 w 810380"/>
                  <a:gd name="connsiteY8" fmla="*/ 235536 h 300577"/>
                  <a:gd name="connsiteX9" fmla="*/ 502266 w 810380"/>
                  <a:gd name="connsiteY9" fmla="*/ 299148 h 300577"/>
                  <a:gd name="connsiteX10" fmla="*/ 495123 w 810380"/>
                  <a:gd name="connsiteY10" fmla="*/ 300577 h 300577"/>
                  <a:gd name="connsiteX11" fmla="*/ 490122 w 810380"/>
                  <a:gd name="connsiteY11" fmla="*/ 299862 h 300577"/>
                  <a:gd name="connsiteX12" fmla="*/ 480835 w 810380"/>
                  <a:gd name="connsiteY12" fmla="*/ 291286 h 300577"/>
                  <a:gd name="connsiteX13" fmla="*/ 429400 w 810380"/>
                  <a:gd name="connsiteY13" fmla="*/ 175498 h 300577"/>
                  <a:gd name="connsiteX14" fmla="*/ 437973 w 810380"/>
                  <a:gd name="connsiteY14" fmla="*/ 154771 h 300577"/>
                  <a:gd name="connsiteX15" fmla="*/ 458690 w 810380"/>
                  <a:gd name="connsiteY15" fmla="*/ 162633 h 300577"/>
                  <a:gd name="connsiteX16" fmla="*/ 490836 w 810380"/>
                  <a:gd name="connsiteY16" fmla="*/ 236251 h 300577"/>
                  <a:gd name="connsiteX17" fmla="*/ 596564 w 810380"/>
                  <a:gd name="connsiteY17" fmla="*/ 50420 h 300577"/>
                  <a:gd name="connsiteX18" fmla="*/ 776587 w 810380"/>
                  <a:gd name="connsiteY18" fmla="*/ 467 h 300577"/>
                  <a:gd name="connsiteX19" fmla="*/ 33795 w 810380"/>
                  <a:gd name="connsiteY19" fmla="*/ 467 h 300577"/>
                  <a:gd name="connsiteX20" fmla="*/ 213817 w 810380"/>
                  <a:gd name="connsiteY20" fmla="*/ 50420 h 300577"/>
                  <a:gd name="connsiteX21" fmla="*/ 319545 w 810380"/>
                  <a:gd name="connsiteY21" fmla="*/ 236251 h 300577"/>
                  <a:gd name="connsiteX22" fmla="*/ 351692 w 810380"/>
                  <a:gd name="connsiteY22" fmla="*/ 162633 h 300577"/>
                  <a:gd name="connsiteX23" fmla="*/ 372409 w 810380"/>
                  <a:gd name="connsiteY23" fmla="*/ 154771 h 300577"/>
                  <a:gd name="connsiteX24" fmla="*/ 380981 w 810380"/>
                  <a:gd name="connsiteY24" fmla="*/ 175498 h 300577"/>
                  <a:gd name="connsiteX25" fmla="*/ 329546 w 810380"/>
                  <a:gd name="connsiteY25" fmla="*/ 291286 h 300577"/>
                  <a:gd name="connsiteX26" fmla="*/ 320259 w 810380"/>
                  <a:gd name="connsiteY26" fmla="*/ 299862 h 300577"/>
                  <a:gd name="connsiteX27" fmla="*/ 315259 w 810380"/>
                  <a:gd name="connsiteY27" fmla="*/ 300577 h 300577"/>
                  <a:gd name="connsiteX28" fmla="*/ 308115 w 810380"/>
                  <a:gd name="connsiteY28" fmla="*/ 299148 h 300577"/>
                  <a:gd name="connsiteX29" fmla="*/ 175241 w 810380"/>
                  <a:gd name="connsiteY29" fmla="*/ 235536 h 300577"/>
                  <a:gd name="connsiteX30" fmla="*/ 168097 w 810380"/>
                  <a:gd name="connsiteY30" fmla="*/ 214094 h 300577"/>
                  <a:gd name="connsiteX31" fmla="*/ 188814 w 810380"/>
                  <a:gd name="connsiteY31" fmla="*/ 206947 h 300577"/>
                  <a:gd name="connsiteX32" fmla="*/ 290970 w 810380"/>
                  <a:gd name="connsiteY32" fmla="*/ 256264 h 300577"/>
                  <a:gd name="connsiteX33" fmla="*/ 195244 w 810380"/>
                  <a:gd name="connsiteY33" fmla="*/ 75436 h 300577"/>
                  <a:gd name="connsiteX34" fmla="*/ 18078 w 810380"/>
                  <a:gd name="connsiteY34" fmla="*/ 33266 h 300577"/>
                  <a:gd name="connsiteX35" fmla="*/ 219 w 810380"/>
                  <a:gd name="connsiteY35" fmla="*/ 20401 h 300577"/>
                  <a:gd name="connsiteX36" fmla="*/ 13078 w 810380"/>
                  <a:gd name="connsiteY36" fmla="*/ 2533 h 300577"/>
                  <a:gd name="connsiteX37" fmla="*/ 33795 w 810380"/>
                  <a:gd name="connsiteY37" fmla="*/ 467 h 300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810380" h="300577">
                    <a:moveTo>
                      <a:pt x="776587" y="467"/>
                    </a:moveTo>
                    <a:cubicBezTo>
                      <a:pt x="788686" y="1148"/>
                      <a:pt x="796232" y="2354"/>
                      <a:pt x="797304" y="2533"/>
                    </a:cubicBezTo>
                    <a:cubicBezTo>
                      <a:pt x="805876" y="3962"/>
                      <a:pt x="811591" y="11824"/>
                      <a:pt x="810162" y="20401"/>
                    </a:cubicBezTo>
                    <a:cubicBezTo>
                      <a:pt x="808734" y="28978"/>
                      <a:pt x="800876" y="34696"/>
                      <a:pt x="792303" y="33266"/>
                    </a:cubicBezTo>
                    <a:cubicBezTo>
                      <a:pt x="791589" y="33266"/>
                      <a:pt x="693005" y="18257"/>
                      <a:pt x="614423" y="75436"/>
                    </a:cubicBezTo>
                    <a:cubicBezTo>
                      <a:pt x="563703" y="113316"/>
                      <a:pt x="531556" y="174069"/>
                      <a:pt x="519411" y="256264"/>
                    </a:cubicBezTo>
                    <a:cubicBezTo>
                      <a:pt x="519411" y="256264"/>
                      <a:pt x="519411" y="256264"/>
                      <a:pt x="621567" y="206947"/>
                    </a:cubicBezTo>
                    <a:cubicBezTo>
                      <a:pt x="629425" y="203373"/>
                      <a:pt x="638712" y="206232"/>
                      <a:pt x="642284" y="214094"/>
                    </a:cubicBezTo>
                    <a:cubicBezTo>
                      <a:pt x="645856" y="221956"/>
                      <a:pt x="642999" y="231248"/>
                      <a:pt x="635140" y="235536"/>
                    </a:cubicBezTo>
                    <a:cubicBezTo>
                      <a:pt x="635140" y="235536"/>
                      <a:pt x="635140" y="235536"/>
                      <a:pt x="502266" y="299148"/>
                    </a:cubicBezTo>
                    <a:cubicBezTo>
                      <a:pt x="500123" y="300577"/>
                      <a:pt x="497266" y="300577"/>
                      <a:pt x="495123" y="300577"/>
                    </a:cubicBezTo>
                    <a:cubicBezTo>
                      <a:pt x="493694" y="300577"/>
                      <a:pt x="491551" y="300577"/>
                      <a:pt x="490122" y="299862"/>
                    </a:cubicBezTo>
                    <a:cubicBezTo>
                      <a:pt x="485836" y="298433"/>
                      <a:pt x="482264" y="295574"/>
                      <a:pt x="480835" y="291286"/>
                    </a:cubicBezTo>
                    <a:cubicBezTo>
                      <a:pt x="480835" y="291286"/>
                      <a:pt x="480835" y="291286"/>
                      <a:pt x="429400" y="175498"/>
                    </a:cubicBezTo>
                    <a:cubicBezTo>
                      <a:pt x="425828" y="167636"/>
                      <a:pt x="430115" y="158345"/>
                      <a:pt x="437973" y="154771"/>
                    </a:cubicBezTo>
                    <a:cubicBezTo>
                      <a:pt x="445831" y="151197"/>
                      <a:pt x="455118" y="154771"/>
                      <a:pt x="458690" y="162633"/>
                    </a:cubicBezTo>
                    <a:cubicBezTo>
                      <a:pt x="458690" y="162633"/>
                      <a:pt x="458690" y="162633"/>
                      <a:pt x="490836" y="236251"/>
                    </a:cubicBezTo>
                    <a:cubicBezTo>
                      <a:pt x="505838" y="153342"/>
                      <a:pt x="540843" y="90445"/>
                      <a:pt x="596564" y="50420"/>
                    </a:cubicBezTo>
                    <a:cubicBezTo>
                      <a:pt x="663001" y="1103"/>
                      <a:pt x="740287" y="-1577"/>
                      <a:pt x="776587" y="467"/>
                    </a:cubicBezTo>
                    <a:close/>
                    <a:moveTo>
                      <a:pt x="33795" y="467"/>
                    </a:moveTo>
                    <a:cubicBezTo>
                      <a:pt x="70094" y="-1577"/>
                      <a:pt x="147380" y="1103"/>
                      <a:pt x="213817" y="50420"/>
                    </a:cubicBezTo>
                    <a:cubicBezTo>
                      <a:pt x="269539" y="90445"/>
                      <a:pt x="304543" y="153342"/>
                      <a:pt x="319545" y="236251"/>
                    </a:cubicBezTo>
                    <a:cubicBezTo>
                      <a:pt x="319545" y="236251"/>
                      <a:pt x="319545" y="236251"/>
                      <a:pt x="351692" y="162633"/>
                    </a:cubicBezTo>
                    <a:cubicBezTo>
                      <a:pt x="355264" y="154771"/>
                      <a:pt x="364551" y="151197"/>
                      <a:pt x="372409" y="154771"/>
                    </a:cubicBezTo>
                    <a:cubicBezTo>
                      <a:pt x="380981" y="158345"/>
                      <a:pt x="384553" y="167636"/>
                      <a:pt x="380981" y="175498"/>
                    </a:cubicBezTo>
                    <a:cubicBezTo>
                      <a:pt x="380981" y="175498"/>
                      <a:pt x="380981" y="175498"/>
                      <a:pt x="329546" y="291286"/>
                    </a:cubicBezTo>
                    <a:cubicBezTo>
                      <a:pt x="328118" y="295574"/>
                      <a:pt x="324546" y="298433"/>
                      <a:pt x="320259" y="299862"/>
                    </a:cubicBezTo>
                    <a:cubicBezTo>
                      <a:pt x="318831" y="300577"/>
                      <a:pt x="316688" y="300577"/>
                      <a:pt x="315259" y="300577"/>
                    </a:cubicBezTo>
                    <a:cubicBezTo>
                      <a:pt x="313116" y="300577"/>
                      <a:pt x="310258" y="300577"/>
                      <a:pt x="308115" y="299148"/>
                    </a:cubicBezTo>
                    <a:cubicBezTo>
                      <a:pt x="308115" y="299148"/>
                      <a:pt x="308115" y="299148"/>
                      <a:pt x="175241" y="235536"/>
                    </a:cubicBezTo>
                    <a:cubicBezTo>
                      <a:pt x="167383" y="231248"/>
                      <a:pt x="164525" y="221956"/>
                      <a:pt x="168097" y="214094"/>
                    </a:cubicBezTo>
                    <a:cubicBezTo>
                      <a:pt x="171669" y="206232"/>
                      <a:pt x="181670" y="203373"/>
                      <a:pt x="188814" y="206947"/>
                    </a:cubicBezTo>
                    <a:cubicBezTo>
                      <a:pt x="188814" y="206947"/>
                      <a:pt x="188814" y="206947"/>
                      <a:pt x="290970" y="256264"/>
                    </a:cubicBezTo>
                    <a:cubicBezTo>
                      <a:pt x="278826" y="174069"/>
                      <a:pt x="246679" y="113316"/>
                      <a:pt x="195244" y="75436"/>
                    </a:cubicBezTo>
                    <a:cubicBezTo>
                      <a:pt x="116662" y="18257"/>
                      <a:pt x="18793" y="33266"/>
                      <a:pt x="18078" y="33266"/>
                    </a:cubicBezTo>
                    <a:cubicBezTo>
                      <a:pt x="9506" y="34696"/>
                      <a:pt x="1648" y="28978"/>
                      <a:pt x="219" y="20401"/>
                    </a:cubicBezTo>
                    <a:cubicBezTo>
                      <a:pt x="-1210" y="11824"/>
                      <a:pt x="4505" y="3962"/>
                      <a:pt x="13078" y="2533"/>
                    </a:cubicBezTo>
                    <a:cubicBezTo>
                      <a:pt x="14149" y="2354"/>
                      <a:pt x="21695" y="1148"/>
                      <a:pt x="33795" y="46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CA6EB67E-0A75-4FA1-9FAE-E0FE0DD485F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CA6EB67E-0A75-4FA1-9FAE-E0FE0DD485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Group 46">
            <a:extLst>
              <a:ext uri="{FF2B5EF4-FFF2-40B4-BE49-F238E27FC236}">
                <a16:creationId xmlns:a16="http://schemas.microsoft.com/office/drawing/2014/main" id="{D7D0C2A9-6AB3-48F1-B3F1-9F2D9C481B15}"/>
              </a:ext>
            </a:extLst>
          </p:cNvPr>
          <p:cNvGrpSpPr>
            <a:grpSpLocks noChangeAspect="1"/>
          </p:cNvGrpSpPr>
          <p:nvPr/>
        </p:nvGrpSpPr>
        <p:grpSpPr>
          <a:xfrm>
            <a:off x="2685606" y="802130"/>
            <a:ext cx="828493" cy="828492"/>
            <a:chOff x="5273675" y="2570163"/>
            <a:chExt cx="1646238" cy="1646237"/>
          </a:xfrm>
        </p:grpSpPr>
        <p:sp>
          <p:nvSpPr>
            <p:cNvPr id="48" name="AutoShape 40">
              <a:extLst>
                <a:ext uri="{FF2B5EF4-FFF2-40B4-BE49-F238E27FC236}">
                  <a16:creationId xmlns:a16="http://schemas.microsoft.com/office/drawing/2014/main" id="{25A7531E-29AB-4822-83C2-73F01A6C504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6238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244424E-DE11-425B-B21D-E59F964333FB}"/>
                </a:ext>
              </a:extLst>
            </p:cNvPr>
            <p:cNvGrpSpPr/>
            <p:nvPr/>
          </p:nvGrpSpPr>
          <p:grpSpPr>
            <a:xfrm>
              <a:off x="5424488" y="2741613"/>
              <a:ext cx="1347788" cy="1303337"/>
              <a:chOff x="5424488" y="2741613"/>
              <a:chExt cx="1347788" cy="1303337"/>
            </a:xfrm>
          </p:grpSpPr>
          <p:sp>
            <p:nvSpPr>
              <p:cNvPr id="50" name="Freeform 42">
                <a:extLst>
                  <a:ext uri="{FF2B5EF4-FFF2-40B4-BE49-F238E27FC236}">
                    <a16:creationId xmlns:a16="http://schemas.microsoft.com/office/drawing/2014/main" id="{13010C42-143F-4CB6-9B86-6465DF566D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4488" y="2967038"/>
                <a:ext cx="1347788" cy="573087"/>
              </a:xfrm>
              <a:custGeom>
                <a:avLst/>
                <a:gdLst>
                  <a:gd name="T0" fmla="*/ 119 w 1886"/>
                  <a:gd name="T1" fmla="*/ 42 h 802"/>
                  <a:gd name="T2" fmla="*/ 45 w 1886"/>
                  <a:gd name="T3" fmla="*/ 116 h 802"/>
                  <a:gd name="T4" fmla="*/ 45 w 1886"/>
                  <a:gd name="T5" fmla="*/ 685 h 802"/>
                  <a:gd name="T6" fmla="*/ 119 w 1886"/>
                  <a:gd name="T7" fmla="*/ 760 h 802"/>
                  <a:gd name="T8" fmla="*/ 1584 w 1886"/>
                  <a:gd name="T9" fmla="*/ 760 h 802"/>
                  <a:gd name="T10" fmla="*/ 1646 w 1886"/>
                  <a:gd name="T11" fmla="*/ 724 h 802"/>
                  <a:gd name="T12" fmla="*/ 1823 w 1886"/>
                  <a:gd name="T13" fmla="*/ 440 h 802"/>
                  <a:gd name="T14" fmla="*/ 1823 w 1886"/>
                  <a:gd name="T15" fmla="*/ 361 h 802"/>
                  <a:gd name="T16" fmla="*/ 1646 w 1886"/>
                  <a:gd name="T17" fmla="*/ 77 h 802"/>
                  <a:gd name="T18" fmla="*/ 1584 w 1886"/>
                  <a:gd name="T19" fmla="*/ 42 h 802"/>
                  <a:gd name="T20" fmla="*/ 119 w 1886"/>
                  <a:gd name="T21" fmla="*/ 42 h 802"/>
                  <a:gd name="T22" fmla="*/ 118 w 1886"/>
                  <a:gd name="T23" fmla="*/ 0 h 802"/>
                  <a:gd name="T24" fmla="*/ 1586 w 1886"/>
                  <a:gd name="T25" fmla="*/ 0 h 802"/>
                  <a:gd name="T26" fmla="*/ 1686 w 1886"/>
                  <a:gd name="T27" fmla="*/ 55 h 802"/>
                  <a:gd name="T28" fmla="*/ 1862 w 1886"/>
                  <a:gd name="T29" fmla="*/ 338 h 802"/>
                  <a:gd name="T30" fmla="*/ 1862 w 1886"/>
                  <a:gd name="T31" fmla="*/ 463 h 802"/>
                  <a:gd name="T32" fmla="*/ 1686 w 1886"/>
                  <a:gd name="T33" fmla="*/ 746 h 802"/>
                  <a:gd name="T34" fmla="*/ 1586 w 1886"/>
                  <a:gd name="T35" fmla="*/ 802 h 802"/>
                  <a:gd name="T36" fmla="*/ 118 w 1886"/>
                  <a:gd name="T37" fmla="*/ 802 h 802"/>
                  <a:gd name="T38" fmla="*/ 0 w 1886"/>
                  <a:gd name="T39" fmla="*/ 684 h 802"/>
                  <a:gd name="T40" fmla="*/ 0 w 1886"/>
                  <a:gd name="T41" fmla="*/ 117 h 802"/>
                  <a:gd name="T42" fmla="*/ 118 w 1886"/>
                  <a:gd name="T43" fmla="*/ 0 h 8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86" h="802">
                    <a:moveTo>
                      <a:pt x="119" y="42"/>
                    </a:moveTo>
                    <a:cubicBezTo>
                      <a:pt x="78" y="42"/>
                      <a:pt x="45" y="75"/>
                      <a:pt x="45" y="116"/>
                    </a:cubicBezTo>
                    <a:cubicBezTo>
                      <a:pt x="45" y="685"/>
                      <a:pt x="45" y="685"/>
                      <a:pt x="45" y="685"/>
                    </a:cubicBezTo>
                    <a:cubicBezTo>
                      <a:pt x="45" y="726"/>
                      <a:pt x="78" y="760"/>
                      <a:pt x="119" y="760"/>
                    </a:cubicBezTo>
                    <a:cubicBezTo>
                      <a:pt x="1584" y="760"/>
                      <a:pt x="1584" y="760"/>
                      <a:pt x="1584" y="760"/>
                    </a:cubicBezTo>
                    <a:cubicBezTo>
                      <a:pt x="1609" y="760"/>
                      <a:pt x="1633" y="747"/>
                      <a:pt x="1646" y="724"/>
                    </a:cubicBezTo>
                    <a:cubicBezTo>
                      <a:pt x="1823" y="440"/>
                      <a:pt x="1823" y="440"/>
                      <a:pt x="1823" y="440"/>
                    </a:cubicBezTo>
                    <a:cubicBezTo>
                      <a:pt x="1837" y="416"/>
                      <a:pt x="1837" y="385"/>
                      <a:pt x="1823" y="361"/>
                    </a:cubicBezTo>
                    <a:cubicBezTo>
                      <a:pt x="1646" y="77"/>
                      <a:pt x="1646" y="77"/>
                      <a:pt x="1646" y="77"/>
                    </a:cubicBezTo>
                    <a:cubicBezTo>
                      <a:pt x="1633" y="55"/>
                      <a:pt x="1609" y="42"/>
                      <a:pt x="1584" y="42"/>
                    </a:cubicBezTo>
                    <a:cubicBezTo>
                      <a:pt x="119" y="42"/>
                      <a:pt x="119" y="42"/>
                      <a:pt x="119" y="42"/>
                    </a:cubicBezTo>
                    <a:close/>
                    <a:moveTo>
                      <a:pt x="118" y="0"/>
                    </a:moveTo>
                    <a:cubicBezTo>
                      <a:pt x="1586" y="0"/>
                      <a:pt x="1586" y="0"/>
                      <a:pt x="1586" y="0"/>
                    </a:cubicBezTo>
                    <a:cubicBezTo>
                      <a:pt x="1627" y="0"/>
                      <a:pt x="1664" y="21"/>
                      <a:pt x="1686" y="55"/>
                    </a:cubicBezTo>
                    <a:cubicBezTo>
                      <a:pt x="1862" y="338"/>
                      <a:pt x="1862" y="338"/>
                      <a:pt x="1862" y="338"/>
                    </a:cubicBezTo>
                    <a:cubicBezTo>
                      <a:pt x="1886" y="376"/>
                      <a:pt x="1886" y="425"/>
                      <a:pt x="1862" y="463"/>
                    </a:cubicBezTo>
                    <a:cubicBezTo>
                      <a:pt x="1686" y="746"/>
                      <a:pt x="1686" y="746"/>
                      <a:pt x="1686" y="746"/>
                    </a:cubicBezTo>
                    <a:cubicBezTo>
                      <a:pt x="1664" y="781"/>
                      <a:pt x="1627" y="802"/>
                      <a:pt x="1586" y="802"/>
                    </a:cubicBezTo>
                    <a:cubicBezTo>
                      <a:pt x="118" y="802"/>
                      <a:pt x="118" y="802"/>
                      <a:pt x="118" y="802"/>
                    </a:cubicBezTo>
                    <a:cubicBezTo>
                      <a:pt x="53" y="802"/>
                      <a:pt x="0" y="749"/>
                      <a:pt x="0" y="684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52"/>
                      <a:pt x="53" y="0"/>
                      <a:pt x="11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27">
                <a:extLst>
                  <a:ext uri="{FF2B5EF4-FFF2-40B4-BE49-F238E27FC236}">
                    <a16:creationId xmlns:a16="http://schemas.microsoft.com/office/drawing/2014/main" id="{DDF08A8C-B414-468E-8EA5-7C3938DD00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975" y="2741613"/>
                <a:ext cx="1076325" cy="1303337"/>
              </a:xfrm>
              <a:custGeom>
                <a:avLst/>
                <a:gdLst>
                  <a:gd name="connsiteX0" fmla="*/ 581026 w 1076325"/>
                  <a:gd name="connsiteY0" fmla="*/ 876300 h 1303337"/>
                  <a:gd name="connsiteX1" fmla="*/ 541338 w 1076325"/>
                  <a:gd name="connsiteY1" fmla="*/ 915988 h 1303337"/>
                  <a:gd name="connsiteX2" fmla="*/ 581026 w 1076325"/>
                  <a:gd name="connsiteY2" fmla="*/ 955676 h 1303337"/>
                  <a:gd name="connsiteX3" fmla="*/ 620714 w 1076325"/>
                  <a:gd name="connsiteY3" fmla="*/ 915988 h 1303337"/>
                  <a:gd name="connsiteX4" fmla="*/ 581026 w 1076325"/>
                  <a:gd name="connsiteY4" fmla="*/ 876300 h 1303337"/>
                  <a:gd name="connsiteX5" fmla="*/ 484007 w 1076325"/>
                  <a:gd name="connsiteY5" fmla="*/ 830262 h 1303337"/>
                  <a:gd name="connsiteX6" fmla="*/ 678044 w 1076325"/>
                  <a:gd name="connsiteY6" fmla="*/ 830262 h 1303337"/>
                  <a:gd name="connsiteX7" fmla="*/ 693738 w 1076325"/>
                  <a:gd name="connsiteY7" fmla="*/ 845936 h 1303337"/>
                  <a:gd name="connsiteX8" fmla="*/ 693738 w 1076325"/>
                  <a:gd name="connsiteY8" fmla="*/ 1287663 h 1303337"/>
                  <a:gd name="connsiteX9" fmla="*/ 678044 w 1076325"/>
                  <a:gd name="connsiteY9" fmla="*/ 1303337 h 1303337"/>
                  <a:gd name="connsiteX10" fmla="*/ 484007 w 1076325"/>
                  <a:gd name="connsiteY10" fmla="*/ 1303337 h 1303337"/>
                  <a:gd name="connsiteX11" fmla="*/ 468313 w 1076325"/>
                  <a:gd name="connsiteY11" fmla="*/ 1287663 h 1303337"/>
                  <a:gd name="connsiteX12" fmla="*/ 468313 w 1076325"/>
                  <a:gd name="connsiteY12" fmla="*/ 845936 h 1303337"/>
                  <a:gd name="connsiteX13" fmla="*/ 484007 w 1076325"/>
                  <a:gd name="connsiteY13" fmla="*/ 830262 h 1303337"/>
                  <a:gd name="connsiteX14" fmla="*/ 810793 w 1076325"/>
                  <a:gd name="connsiteY14" fmla="*/ 436562 h 1303337"/>
                  <a:gd name="connsiteX15" fmla="*/ 796925 w 1076325"/>
                  <a:gd name="connsiteY15" fmla="*/ 437965 h 1303337"/>
                  <a:gd name="connsiteX16" fmla="*/ 796925 w 1076325"/>
                  <a:gd name="connsiteY16" fmla="*/ 496186 h 1303337"/>
                  <a:gd name="connsiteX17" fmla="*/ 813713 w 1076325"/>
                  <a:gd name="connsiteY17" fmla="*/ 496887 h 1303337"/>
                  <a:gd name="connsiteX18" fmla="*/ 849477 w 1076325"/>
                  <a:gd name="connsiteY18" fmla="*/ 490574 h 1303337"/>
                  <a:gd name="connsiteX19" fmla="*/ 860425 w 1076325"/>
                  <a:gd name="connsiteY19" fmla="*/ 464620 h 1303337"/>
                  <a:gd name="connsiteX20" fmla="*/ 848747 w 1076325"/>
                  <a:gd name="connsiteY20" fmla="*/ 442875 h 1303337"/>
                  <a:gd name="connsiteX21" fmla="*/ 810793 w 1076325"/>
                  <a:gd name="connsiteY21" fmla="*/ 436562 h 1303337"/>
                  <a:gd name="connsiteX22" fmla="*/ 939800 w 1076325"/>
                  <a:gd name="connsiteY22" fmla="*/ 403225 h 1303337"/>
                  <a:gd name="connsiteX23" fmla="*/ 1076325 w 1076325"/>
                  <a:gd name="connsiteY23" fmla="*/ 403225 h 1303337"/>
                  <a:gd name="connsiteX24" fmla="*/ 1076325 w 1076325"/>
                  <a:gd name="connsiteY24" fmla="*/ 437490 h 1303337"/>
                  <a:gd name="connsiteX25" fmla="*/ 977684 w 1076325"/>
                  <a:gd name="connsiteY25" fmla="*/ 437490 h 1303337"/>
                  <a:gd name="connsiteX26" fmla="*/ 977684 w 1076325"/>
                  <a:gd name="connsiteY26" fmla="*/ 487459 h 1303337"/>
                  <a:gd name="connsiteX27" fmla="*/ 1048448 w 1076325"/>
                  <a:gd name="connsiteY27" fmla="*/ 487459 h 1303337"/>
                  <a:gd name="connsiteX28" fmla="*/ 1048448 w 1076325"/>
                  <a:gd name="connsiteY28" fmla="*/ 519581 h 1303337"/>
                  <a:gd name="connsiteX29" fmla="*/ 977684 w 1076325"/>
                  <a:gd name="connsiteY29" fmla="*/ 519581 h 1303337"/>
                  <a:gd name="connsiteX30" fmla="*/ 977684 w 1076325"/>
                  <a:gd name="connsiteY30" fmla="*/ 582400 h 1303337"/>
                  <a:gd name="connsiteX31" fmla="*/ 1074896 w 1076325"/>
                  <a:gd name="connsiteY31" fmla="*/ 582400 h 1303337"/>
                  <a:gd name="connsiteX32" fmla="*/ 1074896 w 1076325"/>
                  <a:gd name="connsiteY32" fmla="*/ 615950 h 1303337"/>
                  <a:gd name="connsiteX33" fmla="*/ 939800 w 1076325"/>
                  <a:gd name="connsiteY33" fmla="*/ 615950 h 1303337"/>
                  <a:gd name="connsiteX34" fmla="*/ 939800 w 1076325"/>
                  <a:gd name="connsiteY34" fmla="*/ 403225 h 1303337"/>
                  <a:gd name="connsiteX35" fmla="*/ 557213 w 1076325"/>
                  <a:gd name="connsiteY35" fmla="*/ 403225 h 1303337"/>
                  <a:gd name="connsiteX36" fmla="*/ 595113 w 1076325"/>
                  <a:gd name="connsiteY36" fmla="*/ 403225 h 1303337"/>
                  <a:gd name="connsiteX37" fmla="*/ 595113 w 1076325"/>
                  <a:gd name="connsiteY37" fmla="*/ 549036 h 1303337"/>
                  <a:gd name="connsiteX38" fmla="*/ 605124 w 1076325"/>
                  <a:gd name="connsiteY38" fmla="*/ 577049 h 1303337"/>
                  <a:gd name="connsiteX39" fmla="*/ 634443 w 1076325"/>
                  <a:gd name="connsiteY39" fmla="*/ 587823 h 1303337"/>
                  <a:gd name="connsiteX40" fmla="*/ 666622 w 1076325"/>
                  <a:gd name="connsiteY40" fmla="*/ 577767 h 1303337"/>
                  <a:gd name="connsiteX41" fmla="*/ 678063 w 1076325"/>
                  <a:gd name="connsiteY41" fmla="*/ 548317 h 1303337"/>
                  <a:gd name="connsiteX42" fmla="*/ 678063 w 1076325"/>
                  <a:gd name="connsiteY42" fmla="*/ 403225 h 1303337"/>
                  <a:gd name="connsiteX43" fmla="*/ 715963 w 1076325"/>
                  <a:gd name="connsiteY43" fmla="*/ 403225 h 1303337"/>
                  <a:gd name="connsiteX44" fmla="*/ 715963 w 1076325"/>
                  <a:gd name="connsiteY44" fmla="*/ 551191 h 1303337"/>
                  <a:gd name="connsiteX45" fmla="*/ 693795 w 1076325"/>
                  <a:gd name="connsiteY45" fmla="*/ 602907 h 1303337"/>
                  <a:gd name="connsiteX46" fmla="*/ 634443 w 1076325"/>
                  <a:gd name="connsiteY46" fmla="*/ 622300 h 1303337"/>
                  <a:gd name="connsiteX47" fmla="*/ 577236 w 1076325"/>
                  <a:gd name="connsiteY47" fmla="*/ 603625 h 1303337"/>
                  <a:gd name="connsiteX48" fmla="*/ 557213 w 1076325"/>
                  <a:gd name="connsiteY48" fmla="*/ 551191 h 1303337"/>
                  <a:gd name="connsiteX49" fmla="*/ 557213 w 1076325"/>
                  <a:gd name="connsiteY49" fmla="*/ 403225 h 1303337"/>
                  <a:gd name="connsiteX50" fmla="*/ 357188 w 1076325"/>
                  <a:gd name="connsiteY50" fmla="*/ 403225 h 1303337"/>
                  <a:gd name="connsiteX51" fmla="*/ 531813 w 1076325"/>
                  <a:gd name="connsiteY51" fmla="*/ 403225 h 1303337"/>
                  <a:gd name="connsiteX52" fmla="*/ 531813 w 1076325"/>
                  <a:gd name="connsiteY52" fmla="*/ 437490 h 1303337"/>
                  <a:gd name="connsiteX53" fmla="*/ 461537 w 1076325"/>
                  <a:gd name="connsiteY53" fmla="*/ 437490 h 1303337"/>
                  <a:gd name="connsiteX54" fmla="*/ 461537 w 1076325"/>
                  <a:gd name="connsiteY54" fmla="*/ 615950 h 1303337"/>
                  <a:gd name="connsiteX55" fmla="*/ 423914 w 1076325"/>
                  <a:gd name="connsiteY55" fmla="*/ 615950 h 1303337"/>
                  <a:gd name="connsiteX56" fmla="*/ 423914 w 1076325"/>
                  <a:gd name="connsiteY56" fmla="*/ 437490 h 1303337"/>
                  <a:gd name="connsiteX57" fmla="*/ 357188 w 1076325"/>
                  <a:gd name="connsiteY57" fmla="*/ 437490 h 1303337"/>
                  <a:gd name="connsiteX58" fmla="*/ 357188 w 1076325"/>
                  <a:gd name="connsiteY58" fmla="*/ 403225 h 1303337"/>
                  <a:gd name="connsiteX59" fmla="*/ 173038 w 1076325"/>
                  <a:gd name="connsiteY59" fmla="*/ 403225 h 1303337"/>
                  <a:gd name="connsiteX60" fmla="*/ 210938 w 1076325"/>
                  <a:gd name="connsiteY60" fmla="*/ 403225 h 1303337"/>
                  <a:gd name="connsiteX61" fmla="*/ 210938 w 1076325"/>
                  <a:gd name="connsiteY61" fmla="*/ 549036 h 1303337"/>
                  <a:gd name="connsiteX62" fmla="*/ 220949 w 1076325"/>
                  <a:gd name="connsiteY62" fmla="*/ 577049 h 1303337"/>
                  <a:gd name="connsiteX63" fmla="*/ 250267 w 1076325"/>
                  <a:gd name="connsiteY63" fmla="*/ 587823 h 1303337"/>
                  <a:gd name="connsiteX64" fmla="*/ 281731 w 1076325"/>
                  <a:gd name="connsiteY64" fmla="*/ 577767 h 1303337"/>
                  <a:gd name="connsiteX65" fmla="*/ 293888 w 1076325"/>
                  <a:gd name="connsiteY65" fmla="*/ 548317 h 1303337"/>
                  <a:gd name="connsiteX66" fmla="*/ 293888 w 1076325"/>
                  <a:gd name="connsiteY66" fmla="*/ 403225 h 1303337"/>
                  <a:gd name="connsiteX67" fmla="*/ 331788 w 1076325"/>
                  <a:gd name="connsiteY67" fmla="*/ 403225 h 1303337"/>
                  <a:gd name="connsiteX68" fmla="*/ 331788 w 1076325"/>
                  <a:gd name="connsiteY68" fmla="*/ 551191 h 1303337"/>
                  <a:gd name="connsiteX69" fmla="*/ 309620 w 1076325"/>
                  <a:gd name="connsiteY69" fmla="*/ 602907 h 1303337"/>
                  <a:gd name="connsiteX70" fmla="*/ 250267 w 1076325"/>
                  <a:gd name="connsiteY70" fmla="*/ 622300 h 1303337"/>
                  <a:gd name="connsiteX71" fmla="*/ 193060 w 1076325"/>
                  <a:gd name="connsiteY71" fmla="*/ 603625 h 1303337"/>
                  <a:gd name="connsiteX72" fmla="*/ 173038 w 1076325"/>
                  <a:gd name="connsiteY72" fmla="*/ 551191 h 1303337"/>
                  <a:gd name="connsiteX73" fmla="*/ 173038 w 1076325"/>
                  <a:gd name="connsiteY73" fmla="*/ 403225 h 1303337"/>
                  <a:gd name="connsiteX74" fmla="*/ 0 w 1076325"/>
                  <a:gd name="connsiteY74" fmla="*/ 403225 h 1303337"/>
                  <a:gd name="connsiteX75" fmla="*/ 139700 w 1076325"/>
                  <a:gd name="connsiteY75" fmla="*/ 403225 h 1303337"/>
                  <a:gd name="connsiteX76" fmla="*/ 139700 w 1076325"/>
                  <a:gd name="connsiteY76" fmla="*/ 437490 h 1303337"/>
                  <a:gd name="connsiteX77" fmla="*/ 37776 w 1076325"/>
                  <a:gd name="connsiteY77" fmla="*/ 437490 h 1303337"/>
                  <a:gd name="connsiteX78" fmla="*/ 37776 w 1076325"/>
                  <a:gd name="connsiteY78" fmla="*/ 487459 h 1303337"/>
                  <a:gd name="connsiteX79" fmla="*/ 111902 w 1076325"/>
                  <a:gd name="connsiteY79" fmla="*/ 487459 h 1303337"/>
                  <a:gd name="connsiteX80" fmla="*/ 111902 w 1076325"/>
                  <a:gd name="connsiteY80" fmla="*/ 519581 h 1303337"/>
                  <a:gd name="connsiteX81" fmla="*/ 37776 w 1076325"/>
                  <a:gd name="connsiteY81" fmla="*/ 519581 h 1303337"/>
                  <a:gd name="connsiteX82" fmla="*/ 37776 w 1076325"/>
                  <a:gd name="connsiteY82" fmla="*/ 615950 h 1303337"/>
                  <a:gd name="connsiteX83" fmla="*/ 0 w 1076325"/>
                  <a:gd name="connsiteY83" fmla="*/ 615950 h 1303337"/>
                  <a:gd name="connsiteX84" fmla="*/ 0 w 1076325"/>
                  <a:gd name="connsiteY84" fmla="*/ 403225 h 1303337"/>
                  <a:gd name="connsiteX85" fmla="*/ 819678 w 1076325"/>
                  <a:gd name="connsiteY85" fmla="*/ 401637 h 1303337"/>
                  <a:gd name="connsiteX86" fmla="*/ 900363 w 1076325"/>
                  <a:gd name="connsiteY86" fmla="*/ 465216 h 1303337"/>
                  <a:gd name="connsiteX87" fmla="*/ 888939 w 1076325"/>
                  <a:gd name="connsiteY87" fmla="*/ 498792 h 1303337"/>
                  <a:gd name="connsiteX88" fmla="*/ 860378 w 1076325"/>
                  <a:gd name="connsiteY88" fmla="*/ 520937 h 1303337"/>
                  <a:gd name="connsiteX89" fmla="*/ 923926 w 1076325"/>
                  <a:gd name="connsiteY89" fmla="*/ 615949 h 1303337"/>
                  <a:gd name="connsiteX90" fmla="*/ 879656 w 1076325"/>
                  <a:gd name="connsiteY90" fmla="*/ 615949 h 1303337"/>
                  <a:gd name="connsiteX91" fmla="*/ 823962 w 1076325"/>
                  <a:gd name="connsiteY91" fmla="*/ 528796 h 1303337"/>
                  <a:gd name="connsiteX92" fmla="*/ 799685 w 1076325"/>
                  <a:gd name="connsiteY92" fmla="*/ 528081 h 1303337"/>
                  <a:gd name="connsiteX93" fmla="*/ 799685 w 1076325"/>
                  <a:gd name="connsiteY93" fmla="*/ 615949 h 1303337"/>
                  <a:gd name="connsiteX94" fmla="*/ 760413 w 1076325"/>
                  <a:gd name="connsiteY94" fmla="*/ 615949 h 1303337"/>
                  <a:gd name="connsiteX95" fmla="*/ 760413 w 1076325"/>
                  <a:gd name="connsiteY95" fmla="*/ 403780 h 1303337"/>
                  <a:gd name="connsiteX96" fmla="*/ 784690 w 1076325"/>
                  <a:gd name="connsiteY96" fmla="*/ 403066 h 1303337"/>
                  <a:gd name="connsiteX97" fmla="*/ 819678 w 1076325"/>
                  <a:gd name="connsiteY97" fmla="*/ 401637 h 1303337"/>
                  <a:gd name="connsiteX98" fmla="*/ 581026 w 1076325"/>
                  <a:gd name="connsiteY98" fmla="*/ 63500 h 1303337"/>
                  <a:gd name="connsiteX99" fmla="*/ 541338 w 1076325"/>
                  <a:gd name="connsiteY99" fmla="*/ 103188 h 1303337"/>
                  <a:gd name="connsiteX100" fmla="*/ 581026 w 1076325"/>
                  <a:gd name="connsiteY100" fmla="*/ 142876 h 1303337"/>
                  <a:gd name="connsiteX101" fmla="*/ 620714 w 1076325"/>
                  <a:gd name="connsiteY101" fmla="*/ 103188 h 1303337"/>
                  <a:gd name="connsiteX102" fmla="*/ 581026 w 1076325"/>
                  <a:gd name="connsiteY102" fmla="*/ 63500 h 1303337"/>
                  <a:gd name="connsiteX103" fmla="*/ 581739 w 1076325"/>
                  <a:gd name="connsiteY103" fmla="*/ 0 h 1303337"/>
                  <a:gd name="connsiteX104" fmla="*/ 680184 w 1076325"/>
                  <a:gd name="connsiteY104" fmla="*/ 14293 h 1303337"/>
                  <a:gd name="connsiteX105" fmla="*/ 693738 w 1076325"/>
                  <a:gd name="connsiteY105" fmla="*/ 37163 h 1303337"/>
                  <a:gd name="connsiteX106" fmla="*/ 693738 w 1076325"/>
                  <a:gd name="connsiteY106" fmla="*/ 177952 h 1303337"/>
                  <a:gd name="connsiteX107" fmla="*/ 678044 w 1076325"/>
                  <a:gd name="connsiteY107" fmla="*/ 193675 h 1303337"/>
                  <a:gd name="connsiteX108" fmla="*/ 484007 w 1076325"/>
                  <a:gd name="connsiteY108" fmla="*/ 193675 h 1303337"/>
                  <a:gd name="connsiteX109" fmla="*/ 468313 w 1076325"/>
                  <a:gd name="connsiteY109" fmla="*/ 177952 h 1303337"/>
                  <a:gd name="connsiteX110" fmla="*/ 468313 w 1076325"/>
                  <a:gd name="connsiteY110" fmla="*/ 37163 h 1303337"/>
                  <a:gd name="connsiteX111" fmla="*/ 482581 w 1076325"/>
                  <a:gd name="connsiteY111" fmla="*/ 14293 h 1303337"/>
                  <a:gd name="connsiteX112" fmla="*/ 581739 w 1076325"/>
                  <a:gd name="connsiteY112" fmla="*/ 0 h 1303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1076325" h="1303337">
                    <a:moveTo>
                      <a:pt x="581026" y="876300"/>
                    </a:moveTo>
                    <a:cubicBezTo>
                      <a:pt x="559107" y="876300"/>
                      <a:pt x="541338" y="894069"/>
                      <a:pt x="541338" y="915988"/>
                    </a:cubicBezTo>
                    <a:cubicBezTo>
                      <a:pt x="541338" y="937907"/>
                      <a:pt x="559107" y="955676"/>
                      <a:pt x="581026" y="955676"/>
                    </a:cubicBezTo>
                    <a:cubicBezTo>
                      <a:pt x="602945" y="955676"/>
                      <a:pt x="620714" y="937907"/>
                      <a:pt x="620714" y="915988"/>
                    </a:cubicBezTo>
                    <a:cubicBezTo>
                      <a:pt x="620714" y="894069"/>
                      <a:pt x="602945" y="876300"/>
                      <a:pt x="581026" y="876300"/>
                    </a:cubicBezTo>
                    <a:close/>
                    <a:moveTo>
                      <a:pt x="484007" y="830262"/>
                    </a:moveTo>
                    <a:cubicBezTo>
                      <a:pt x="484007" y="830262"/>
                      <a:pt x="484007" y="830262"/>
                      <a:pt x="678044" y="830262"/>
                    </a:cubicBezTo>
                    <a:cubicBezTo>
                      <a:pt x="686605" y="830262"/>
                      <a:pt x="693738" y="837387"/>
                      <a:pt x="693738" y="845936"/>
                    </a:cubicBezTo>
                    <a:cubicBezTo>
                      <a:pt x="693738" y="845936"/>
                      <a:pt x="693738" y="845936"/>
                      <a:pt x="693738" y="1287663"/>
                    </a:cubicBezTo>
                    <a:cubicBezTo>
                      <a:pt x="693738" y="1296213"/>
                      <a:pt x="686605" y="1303337"/>
                      <a:pt x="678044" y="1303337"/>
                    </a:cubicBezTo>
                    <a:cubicBezTo>
                      <a:pt x="678044" y="1303337"/>
                      <a:pt x="678044" y="1303337"/>
                      <a:pt x="484007" y="1303337"/>
                    </a:cubicBezTo>
                    <a:cubicBezTo>
                      <a:pt x="475447" y="1303337"/>
                      <a:pt x="468313" y="1296213"/>
                      <a:pt x="468313" y="1287663"/>
                    </a:cubicBezTo>
                    <a:cubicBezTo>
                      <a:pt x="468313" y="1287663"/>
                      <a:pt x="468313" y="1287663"/>
                      <a:pt x="468313" y="845936"/>
                    </a:cubicBezTo>
                    <a:cubicBezTo>
                      <a:pt x="468313" y="837387"/>
                      <a:pt x="475447" y="830262"/>
                      <a:pt x="484007" y="830262"/>
                    </a:cubicBezTo>
                    <a:close/>
                    <a:moveTo>
                      <a:pt x="810793" y="436562"/>
                    </a:moveTo>
                    <a:cubicBezTo>
                      <a:pt x="806414" y="436562"/>
                      <a:pt x="801305" y="437264"/>
                      <a:pt x="796925" y="437965"/>
                    </a:cubicBezTo>
                    <a:cubicBezTo>
                      <a:pt x="796925" y="437965"/>
                      <a:pt x="796925" y="437965"/>
                      <a:pt x="796925" y="496186"/>
                    </a:cubicBezTo>
                    <a:cubicBezTo>
                      <a:pt x="804954" y="496186"/>
                      <a:pt x="810063" y="496887"/>
                      <a:pt x="813713" y="496887"/>
                    </a:cubicBezTo>
                    <a:cubicBezTo>
                      <a:pt x="830500" y="496887"/>
                      <a:pt x="842178" y="494783"/>
                      <a:pt x="849477" y="490574"/>
                    </a:cubicBezTo>
                    <a:cubicBezTo>
                      <a:pt x="856776" y="485664"/>
                      <a:pt x="860425" y="477246"/>
                      <a:pt x="860425" y="464620"/>
                    </a:cubicBezTo>
                    <a:cubicBezTo>
                      <a:pt x="860425" y="454098"/>
                      <a:pt x="856776" y="447084"/>
                      <a:pt x="848747" y="442875"/>
                    </a:cubicBezTo>
                    <a:cubicBezTo>
                      <a:pt x="840718" y="438666"/>
                      <a:pt x="828310" y="436562"/>
                      <a:pt x="810793" y="436562"/>
                    </a:cubicBezTo>
                    <a:close/>
                    <a:moveTo>
                      <a:pt x="939800" y="403225"/>
                    </a:moveTo>
                    <a:cubicBezTo>
                      <a:pt x="1076325" y="403225"/>
                      <a:pt x="1076325" y="403225"/>
                      <a:pt x="1076325" y="403225"/>
                    </a:cubicBezTo>
                    <a:cubicBezTo>
                      <a:pt x="1076325" y="437490"/>
                      <a:pt x="1076325" y="437490"/>
                      <a:pt x="1076325" y="437490"/>
                    </a:cubicBezTo>
                    <a:cubicBezTo>
                      <a:pt x="977684" y="437490"/>
                      <a:pt x="977684" y="437490"/>
                      <a:pt x="977684" y="437490"/>
                    </a:cubicBezTo>
                    <a:cubicBezTo>
                      <a:pt x="977684" y="487459"/>
                      <a:pt x="977684" y="487459"/>
                      <a:pt x="977684" y="487459"/>
                    </a:cubicBezTo>
                    <a:cubicBezTo>
                      <a:pt x="1048448" y="487459"/>
                      <a:pt x="1048448" y="487459"/>
                      <a:pt x="1048448" y="487459"/>
                    </a:cubicBezTo>
                    <a:cubicBezTo>
                      <a:pt x="1048448" y="519581"/>
                      <a:pt x="1048448" y="519581"/>
                      <a:pt x="1048448" y="519581"/>
                    </a:cubicBezTo>
                    <a:cubicBezTo>
                      <a:pt x="977684" y="519581"/>
                      <a:pt x="977684" y="519581"/>
                      <a:pt x="977684" y="519581"/>
                    </a:cubicBezTo>
                    <a:cubicBezTo>
                      <a:pt x="977684" y="582400"/>
                      <a:pt x="977684" y="582400"/>
                      <a:pt x="977684" y="582400"/>
                    </a:cubicBezTo>
                    <a:cubicBezTo>
                      <a:pt x="1074896" y="582400"/>
                      <a:pt x="1074896" y="582400"/>
                      <a:pt x="1074896" y="582400"/>
                    </a:cubicBezTo>
                    <a:cubicBezTo>
                      <a:pt x="1074896" y="615950"/>
                      <a:pt x="1074896" y="615950"/>
                      <a:pt x="1074896" y="615950"/>
                    </a:cubicBezTo>
                    <a:cubicBezTo>
                      <a:pt x="939800" y="615950"/>
                      <a:pt x="939800" y="615950"/>
                      <a:pt x="939800" y="615950"/>
                    </a:cubicBezTo>
                    <a:cubicBezTo>
                      <a:pt x="939800" y="403225"/>
                      <a:pt x="939800" y="403225"/>
                      <a:pt x="939800" y="403225"/>
                    </a:cubicBezTo>
                    <a:close/>
                    <a:moveTo>
                      <a:pt x="557213" y="403225"/>
                    </a:moveTo>
                    <a:cubicBezTo>
                      <a:pt x="595113" y="403225"/>
                      <a:pt x="595113" y="403225"/>
                      <a:pt x="595113" y="403225"/>
                    </a:cubicBezTo>
                    <a:cubicBezTo>
                      <a:pt x="595113" y="549036"/>
                      <a:pt x="595113" y="549036"/>
                      <a:pt x="595113" y="549036"/>
                    </a:cubicBezTo>
                    <a:cubicBezTo>
                      <a:pt x="595113" y="560528"/>
                      <a:pt x="598688" y="569866"/>
                      <a:pt x="605124" y="577049"/>
                    </a:cubicBezTo>
                    <a:cubicBezTo>
                      <a:pt x="612275" y="584231"/>
                      <a:pt x="622286" y="587823"/>
                      <a:pt x="634443" y="587823"/>
                    </a:cubicBezTo>
                    <a:cubicBezTo>
                      <a:pt x="648030" y="587823"/>
                      <a:pt x="658756" y="584950"/>
                      <a:pt x="666622" y="577767"/>
                    </a:cubicBezTo>
                    <a:cubicBezTo>
                      <a:pt x="673773" y="570584"/>
                      <a:pt x="678063" y="560528"/>
                      <a:pt x="678063" y="548317"/>
                    </a:cubicBezTo>
                    <a:cubicBezTo>
                      <a:pt x="678063" y="403225"/>
                      <a:pt x="678063" y="403225"/>
                      <a:pt x="678063" y="403225"/>
                    </a:cubicBezTo>
                    <a:cubicBezTo>
                      <a:pt x="715963" y="403225"/>
                      <a:pt x="715963" y="403225"/>
                      <a:pt x="715963" y="403225"/>
                    </a:cubicBezTo>
                    <a:cubicBezTo>
                      <a:pt x="715963" y="551191"/>
                      <a:pt x="715963" y="551191"/>
                      <a:pt x="715963" y="551191"/>
                    </a:cubicBezTo>
                    <a:cubicBezTo>
                      <a:pt x="715963" y="573457"/>
                      <a:pt x="708097" y="590696"/>
                      <a:pt x="693795" y="602907"/>
                    </a:cubicBezTo>
                    <a:cubicBezTo>
                      <a:pt x="678779" y="615836"/>
                      <a:pt x="659471" y="622300"/>
                      <a:pt x="634443" y="622300"/>
                    </a:cubicBezTo>
                    <a:cubicBezTo>
                      <a:pt x="609415" y="622300"/>
                      <a:pt x="590822" y="615836"/>
                      <a:pt x="577236" y="603625"/>
                    </a:cubicBezTo>
                    <a:cubicBezTo>
                      <a:pt x="563649" y="591414"/>
                      <a:pt x="557213" y="574175"/>
                      <a:pt x="557213" y="551191"/>
                    </a:cubicBezTo>
                    <a:cubicBezTo>
                      <a:pt x="557213" y="403225"/>
                      <a:pt x="557213" y="403225"/>
                      <a:pt x="557213" y="403225"/>
                    </a:cubicBezTo>
                    <a:close/>
                    <a:moveTo>
                      <a:pt x="357188" y="403225"/>
                    </a:moveTo>
                    <a:cubicBezTo>
                      <a:pt x="531813" y="403225"/>
                      <a:pt x="531813" y="403225"/>
                      <a:pt x="531813" y="403225"/>
                    </a:cubicBezTo>
                    <a:cubicBezTo>
                      <a:pt x="531813" y="437490"/>
                      <a:pt x="531813" y="437490"/>
                      <a:pt x="531813" y="437490"/>
                    </a:cubicBezTo>
                    <a:cubicBezTo>
                      <a:pt x="461537" y="437490"/>
                      <a:pt x="461537" y="437490"/>
                      <a:pt x="461537" y="437490"/>
                    </a:cubicBezTo>
                    <a:cubicBezTo>
                      <a:pt x="461537" y="615950"/>
                      <a:pt x="461537" y="615950"/>
                      <a:pt x="461537" y="615950"/>
                    </a:cubicBezTo>
                    <a:cubicBezTo>
                      <a:pt x="423914" y="615950"/>
                      <a:pt x="423914" y="615950"/>
                      <a:pt x="423914" y="615950"/>
                    </a:cubicBezTo>
                    <a:cubicBezTo>
                      <a:pt x="423914" y="437490"/>
                      <a:pt x="423914" y="437490"/>
                      <a:pt x="423914" y="437490"/>
                    </a:cubicBezTo>
                    <a:cubicBezTo>
                      <a:pt x="357188" y="437490"/>
                      <a:pt x="357188" y="437490"/>
                      <a:pt x="357188" y="437490"/>
                    </a:cubicBezTo>
                    <a:cubicBezTo>
                      <a:pt x="357188" y="403225"/>
                      <a:pt x="357188" y="403225"/>
                      <a:pt x="357188" y="403225"/>
                    </a:cubicBezTo>
                    <a:close/>
                    <a:moveTo>
                      <a:pt x="173038" y="403225"/>
                    </a:moveTo>
                    <a:cubicBezTo>
                      <a:pt x="210938" y="403225"/>
                      <a:pt x="210938" y="403225"/>
                      <a:pt x="210938" y="403225"/>
                    </a:cubicBezTo>
                    <a:cubicBezTo>
                      <a:pt x="210938" y="549036"/>
                      <a:pt x="210938" y="549036"/>
                      <a:pt x="210938" y="549036"/>
                    </a:cubicBezTo>
                    <a:cubicBezTo>
                      <a:pt x="210938" y="560528"/>
                      <a:pt x="213798" y="569866"/>
                      <a:pt x="220949" y="577049"/>
                    </a:cubicBezTo>
                    <a:cubicBezTo>
                      <a:pt x="228100" y="584231"/>
                      <a:pt x="238111" y="587823"/>
                      <a:pt x="250267" y="587823"/>
                    </a:cubicBezTo>
                    <a:cubicBezTo>
                      <a:pt x="263854" y="587823"/>
                      <a:pt x="274581" y="584950"/>
                      <a:pt x="281731" y="577767"/>
                    </a:cubicBezTo>
                    <a:cubicBezTo>
                      <a:pt x="289597" y="570584"/>
                      <a:pt x="293888" y="560528"/>
                      <a:pt x="293888" y="548317"/>
                    </a:cubicBezTo>
                    <a:cubicBezTo>
                      <a:pt x="293888" y="403225"/>
                      <a:pt x="293888" y="403225"/>
                      <a:pt x="293888" y="403225"/>
                    </a:cubicBezTo>
                    <a:cubicBezTo>
                      <a:pt x="331788" y="403225"/>
                      <a:pt x="331788" y="403225"/>
                      <a:pt x="331788" y="403225"/>
                    </a:cubicBezTo>
                    <a:cubicBezTo>
                      <a:pt x="331788" y="551191"/>
                      <a:pt x="331788" y="551191"/>
                      <a:pt x="331788" y="551191"/>
                    </a:cubicBezTo>
                    <a:cubicBezTo>
                      <a:pt x="331788" y="573457"/>
                      <a:pt x="323922" y="590696"/>
                      <a:pt x="309620" y="602907"/>
                    </a:cubicBezTo>
                    <a:cubicBezTo>
                      <a:pt x="294603" y="615836"/>
                      <a:pt x="275296" y="622300"/>
                      <a:pt x="250267" y="622300"/>
                    </a:cubicBezTo>
                    <a:cubicBezTo>
                      <a:pt x="225239" y="622300"/>
                      <a:pt x="206647" y="615836"/>
                      <a:pt x="193060" y="603625"/>
                    </a:cubicBezTo>
                    <a:cubicBezTo>
                      <a:pt x="179474" y="591414"/>
                      <a:pt x="173038" y="574175"/>
                      <a:pt x="173038" y="551191"/>
                    </a:cubicBezTo>
                    <a:cubicBezTo>
                      <a:pt x="173038" y="403225"/>
                      <a:pt x="173038" y="403225"/>
                      <a:pt x="173038" y="403225"/>
                    </a:cubicBezTo>
                    <a:close/>
                    <a:moveTo>
                      <a:pt x="0" y="403225"/>
                    </a:moveTo>
                    <a:cubicBezTo>
                      <a:pt x="139700" y="403225"/>
                      <a:pt x="139700" y="403225"/>
                      <a:pt x="139700" y="403225"/>
                    </a:cubicBezTo>
                    <a:cubicBezTo>
                      <a:pt x="139700" y="437490"/>
                      <a:pt x="139700" y="437490"/>
                      <a:pt x="139700" y="437490"/>
                    </a:cubicBezTo>
                    <a:cubicBezTo>
                      <a:pt x="37776" y="437490"/>
                      <a:pt x="37776" y="437490"/>
                      <a:pt x="37776" y="437490"/>
                    </a:cubicBezTo>
                    <a:cubicBezTo>
                      <a:pt x="37776" y="487459"/>
                      <a:pt x="37776" y="487459"/>
                      <a:pt x="37776" y="487459"/>
                    </a:cubicBezTo>
                    <a:cubicBezTo>
                      <a:pt x="111902" y="487459"/>
                      <a:pt x="111902" y="487459"/>
                      <a:pt x="111902" y="487459"/>
                    </a:cubicBezTo>
                    <a:cubicBezTo>
                      <a:pt x="111902" y="519581"/>
                      <a:pt x="111902" y="519581"/>
                      <a:pt x="111902" y="519581"/>
                    </a:cubicBezTo>
                    <a:cubicBezTo>
                      <a:pt x="37776" y="519581"/>
                      <a:pt x="37776" y="519581"/>
                      <a:pt x="37776" y="519581"/>
                    </a:cubicBezTo>
                    <a:cubicBezTo>
                      <a:pt x="37776" y="615950"/>
                      <a:pt x="37776" y="615950"/>
                      <a:pt x="37776" y="615950"/>
                    </a:cubicBezTo>
                    <a:cubicBezTo>
                      <a:pt x="0" y="615950"/>
                      <a:pt x="0" y="615950"/>
                      <a:pt x="0" y="615950"/>
                    </a:cubicBezTo>
                    <a:cubicBezTo>
                      <a:pt x="0" y="403225"/>
                      <a:pt x="0" y="403225"/>
                      <a:pt x="0" y="403225"/>
                    </a:cubicBezTo>
                    <a:close/>
                    <a:moveTo>
                      <a:pt x="819678" y="401637"/>
                    </a:moveTo>
                    <a:cubicBezTo>
                      <a:pt x="873230" y="401637"/>
                      <a:pt x="900363" y="423068"/>
                      <a:pt x="900363" y="465216"/>
                    </a:cubicBezTo>
                    <a:cubicBezTo>
                      <a:pt x="900363" y="476646"/>
                      <a:pt x="896079" y="488076"/>
                      <a:pt x="888939" y="498792"/>
                    </a:cubicBezTo>
                    <a:cubicBezTo>
                      <a:pt x="881084" y="509508"/>
                      <a:pt x="871802" y="516651"/>
                      <a:pt x="860378" y="520937"/>
                    </a:cubicBezTo>
                    <a:cubicBezTo>
                      <a:pt x="860378" y="520937"/>
                      <a:pt x="860378" y="520937"/>
                      <a:pt x="923926" y="615949"/>
                    </a:cubicBezTo>
                    <a:cubicBezTo>
                      <a:pt x="923926" y="615949"/>
                      <a:pt x="923926" y="615949"/>
                      <a:pt x="879656" y="615949"/>
                    </a:cubicBezTo>
                    <a:cubicBezTo>
                      <a:pt x="879656" y="615949"/>
                      <a:pt x="879656" y="615949"/>
                      <a:pt x="823962" y="528796"/>
                    </a:cubicBezTo>
                    <a:cubicBezTo>
                      <a:pt x="818250" y="528796"/>
                      <a:pt x="809681" y="528081"/>
                      <a:pt x="799685" y="528081"/>
                    </a:cubicBezTo>
                    <a:cubicBezTo>
                      <a:pt x="799685" y="528081"/>
                      <a:pt x="799685" y="528081"/>
                      <a:pt x="799685" y="615949"/>
                    </a:cubicBezTo>
                    <a:cubicBezTo>
                      <a:pt x="799685" y="615949"/>
                      <a:pt x="799685" y="615949"/>
                      <a:pt x="760413" y="615949"/>
                    </a:cubicBezTo>
                    <a:cubicBezTo>
                      <a:pt x="760413" y="615949"/>
                      <a:pt x="760413" y="615949"/>
                      <a:pt x="760413" y="403780"/>
                    </a:cubicBezTo>
                    <a:cubicBezTo>
                      <a:pt x="762555" y="403780"/>
                      <a:pt x="770410" y="403780"/>
                      <a:pt x="784690" y="403066"/>
                    </a:cubicBezTo>
                    <a:cubicBezTo>
                      <a:pt x="798971" y="402351"/>
                      <a:pt x="810395" y="401637"/>
                      <a:pt x="819678" y="401637"/>
                    </a:cubicBezTo>
                    <a:close/>
                    <a:moveTo>
                      <a:pt x="581026" y="63500"/>
                    </a:moveTo>
                    <a:cubicBezTo>
                      <a:pt x="559107" y="63500"/>
                      <a:pt x="541338" y="81269"/>
                      <a:pt x="541338" y="103188"/>
                    </a:cubicBezTo>
                    <a:cubicBezTo>
                      <a:pt x="541338" y="125107"/>
                      <a:pt x="559107" y="142876"/>
                      <a:pt x="581026" y="142876"/>
                    </a:cubicBezTo>
                    <a:cubicBezTo>
                      <a:pt x="602945" y="142876"/>
                      <a:pt x="620714" y="125107"/>
                      <a:pt x="620714" y="103188"/>
                    </a:cubicBezTo>
                    <a:cubicBezTo>
                      <a:pt x="620714" y="81269"/>
                      <a:pt x="602945" y="63500"/>
                      <a:pt x="581026" y="63500"/>
                    </a:cubicBezTo>
                    <a:close/>
                    <a:moveTo>
                      <a:pt x="581739" y="0"/>
                    </a:moveTo>
                    <a:cubicBezTo>
                      <a:pt x="653790" y="0"/>
                      <a:pt x="680184" y="14293"/>
                      <a:pt x="680184" y="14293"/>
                    </a:cubicBezTo>
                    <a:cubicBezTo>
                      <a:pt x="687318" y="17867"/>
                      <a:pt x="693738" y="28587"/>
                      <a:pt x="693738" y="37163"/>
                    </a:cubicBezTo>
                    <a:cubicBezTo>
                      <a:pt x="693738" y="37163"/>
                      <a:pt x="693738" y="37163"/>
                      <a:pt x="693738" y="177952"/>
                    </a:cubicBezTo>
                    <a:cubicBezTo>
                      <a:pt x="693738" y="186528"/>
                      <a:pt x="686605" y="193675"/>
                      <a:pt x="678044" y="193675"/>
                    </a:cubicBezTo>
                    <a:cubicBezTo>
                      <a:pt x="678044" y="193675"/>
                      <a:pt x="678044" y="193675"/>
                      <a:pt x="484007" y="193675"/>
                    </a:cubicBezTo>
                    <a:cubicBezTo>
                      <a:pt x="475447" y="193675"/>
                      <a:pt x="468313" y="186528"/>
                      <a:pt x="468313" y="177952"/>
                    </a:cubicBezTo>
                    <a:cubicBezTo>
                      <a:pt x="468313" y="177952"/>
                      <a:pt x="468313" y="177952"/>
                      <a:pt x="468313" y="37163"/>
                    </a:cubicBezTo>
                    <a:cubicBezTo>
                      <a:pt x="468313" y="28587"/>
                      <a:pt x="474734" y="17867"/>
                      <a:pt x="482581" y="14293"/>
                    </a:cubicBezTo>
                    <a:cubicBezTo>
                      <a:pt x="482581" y="14293"/>
                      <a:pt x="508262" y="0"/>
                      <a:pt x="581739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DDE9937-34C6-4A10-BAC4-C1B417F1062F}"/>
              </a:ext>
            </a:extLst>
          </p:cNvPr>
          <p:cNvGrpSpPr/>
          <p:nvPr/>
        </p:nvGrpSpPr>
        <p:grpSpPr>
          <a:xfrm>
            <a:off x="533120" y="2022810"/>
            <a:ext cx="2553473" cy="985947"/>
            <a:chOff x="408122" y="2448566"/>
            <a:chExt cx="2553473" cy="985947"/>
          </a:xfrm>
        </p:grpSpPr>
        <p:sp>
          <p:nvSpPr>
            <p:cNvPr id="13" name="Inhaltsplatzhalter 1">
              <a:extLst>
                <a:ext uri="{FF2B5EF4-FFF2-40B4-BE49-F238E27FC236}">
                  <a16:creationId xmlns:a16="http://schemas.microsoft.com/office/drawing/2014/main" id="{A36F0395-3FF7-4BF3-93D8-BBC58743521C}"/>
                </a:ext>
              </a:extLst>
            </p:cNvPr>
            <p:cNvSpPr txBox="1">
              <a:spLocks/>
            </p:cNvSpPr>
            <p:nvPr/>
          </p:nvSpPr>
          <p:spPr>
            <a:xfrm>
              <a:off x="408122" y="3209451"/>
              <a:ext cx="2553473" cy="225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rtl="0" eaLnBrk="0" fontAlgn="base" hangingPunct="0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defRPr lang="de-DE" sz="1400" kern="120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6213" indent="-176213" algn="l" rtl="0" eaLnBrk="0" fontAlgn="base" hangingPunct="0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  <a:defRPr lang="de-DE" sz="1400" kern="120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8415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7800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6213" algn="l" rtl="0" eaLnBrk="0" fontAlgn="base" hangingPunct="0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Symbol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/>
                <a:t>More effort now, less effort later</a:t>
              </a:r>
              <a:endParaRPr lang="en-US">
                <a:cs typeface="Arial"/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429C9BC-08B0-4EB2-B1D6-2B2E5D5F5A8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88232" y="2448566"/>
              <a:ext cx="828492" cy="828492"/>
              <a:chOff x="5272088" y="2603501"/>
              <a:chExt cx="1647825" cy="1647825"/>
            </a:xfrm>
          </p:grpSpPr>
          <p:sp>
            <p:nvSpPr>
              <p:cNvPr id="53" name="AutoShape 41">
                <a:extLst>
                  <a:ext uri="{FF2B5EF4-FFF2-40B4-BE49-F238E27FC236}">
                    <a16:creationId xmlns:a16="http://schemas.microsoft.com/office/drawing/2014/main" id="{758B8C8A-E9DB-47E8-BFDC-0A599E8CFCD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088" y="2603501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5194AF75-2CF0-41F3-804E-D9D6D202BB94}"/>
                  </a:ext>
                </a:extLst>
              </p:cNvPr>
              <p:cNvGrpSpPr/>
              <p:nvPr/>
            </p:nvGrpSpPr>
            <p:grpSpPr>
              <a:xfrm>
                <a:off x="5441950" y="2774951"/>
                <a:ext cx="1308100" cy="1304925"/>
                <a:chOff x="5441950" y="2774951"/>
                <a:chExt cx="1308100" cy="1304925"/>
              </a:xfrm>
            </p:grpSpPr>
            <p:sp>
              <p:nvSpPr>
                <p:cNvPr id="55" name="Freeform 7">
                  <a:extLst>
                    <a:ext uri="{FF2B5EF4-FFF2-40B4-BE49-F238E27FC236}">
                      <a16:creationId xmlns:a16="http://schemas.microsoft.com/office/drawing/2014/main" id="{44F7B0E7-E039-44B6-A807-93E3FE8270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1950" y="2774951"/>
                  <a:ext cx="1308100" cy="1304925"/>
                </a:xfrm>
                <a:custGeom>
                  <a:avLst/>
                  <a:gdLst>
                    <a:gd name="connsiteX0" fmla="*/ 652819 w 1308100"/>
                    <a:gd name="connsiteY0" fmla="*/ 600075 h 1304925"/>
                    <a:gd name="connsiteX1" fmla="*/ 704850 w 1308100"/>
                    <a:gd name="connsiteY1" fmla="*/ 652819 h 1304925"/>
                    <a:gd name="connsiteX2" fmla="*/ 704850 w 1308100"/>
                    <a:gd name="connsiteY2" fmla="*/ 654245 h 1304925"/>
                    <a:gd name="connsiteX3" fmla="*/ 652819 w 1308100"/>
                    <a:gd name="connsiteY3" fmla="*/ 704850 h 1304925"/>
                    <a:gd name="connsiteX4" fmla="*/ 600075 w 1308100"/>
                    <a:gd name="connsiteY4" fmla="*/ 652819 h 1304925"/>
                    <a:gd name="connsiteX5" fmla="*/ 652819 w 1308100"/>
                    <a:gd name="connsiteY5" fmla="*/ 600075 h 1304925"/>
                    <a:gd name="connsiteX6" fmla="*/ 653335 w 1308100"/>
                    <a:gd name="connsiteY6" fmla="*/ 31750 h 1304925"/>
                    <a:gd name="connsiteX7" fmla="*/ 31750 w 1308100"/>
                    <a:gd name="connsiteY7" fmla="*/ 652899 h 1304925"/>
                    <a:gd name="connsiteX8" fmla="*/ 653335 w 1308100"/>
                    <a:gd name="connsiteY8" fmla="*/ 1274763 h 1304925"/>
                    <a:gd name="connsiteX9" fmla="*/ 1276350 w 1308100"/>
                    <a:gd name="connsiteY9" fmla="*/ 652899 h 1304925"/>
                    <a:gd name="connsiteX10" fmla="*/ 653335 w 1308100"/>
                    <a:gd name="connsiteY10" fmla="*/ 31750 h 1304925"/>
                    <a:gd name="connsiteX11" fmla="*/ 653335 w 1308100"/>
                    <a:gd name="connsiteY11" fmla="*/ 0 h 1304925"/>
                    <a:gd name="connsiteX12" fmla="*/ 1117037 w 1308100"/>
                    <a:gd name="connsiteY12" fmla="*/ 190912 h 1304925"/>
                    <a:gd name="connsiteX13" fmla="*/ 1308100 w 1308100"/>
                    <a:gd name="connsiteY13" fmla="*/ 652105 h 1304925"/>
                    <a:gd name="connsiteX14" fmla="*/ 1117037 w 1308100"/>
                    <a:gd name="connsiteY14" fmla="*/ 1114013 h 1304925"/>
                    <a:gd name="connsiteX15" fmla="*/ 653335 w 1308100"/>
                    <a:gd name="connsiteY15" fmla="*/ 1304925 h 1304925"/>
                    <a:gd name="connsiteX16" fmla="*/ 191063 w 1308100"/>
                    <a:gd name="connsiteY16" fmla="*/ 1114013 h 1304925"/>
                    <a:gd name="connsiteX17" fmla="*/ 0 w 1308100"/>
                    <a:gd name="connsiteY17" fmla="*/ 652105 h 1304925"/>
                    <a:gd name="connsiteX18" fmla="*/ 191063 w 1308100"/>
                    <a:gd name="connsiteY18" fmla="*/ 190912 h 1304925"/>
                    <a:gd name="connsiteX19" fmla="*/ 653335 w 1308100"/>
                    <a:gd name="connsiteY19" fmla="*/ 0 h 130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08100" h="1304925">
                      <a:moveTo>
                        <a:pt x="652819" y="600075"/>
                      </a:moveTo>
                      <a:cubicBezTo>
                        <a:pt x="682042" y="600075"/>
                        <a:pt x="704850" y="623596"/>
                        <a:pt x="704850" y="652819"/>
                      </a:cubicBezTo>
                      <a:cubicBezTo>
                        <a:pt x="704850" y="653532"/>
                        <a:pt x="704850" y="653532"/>
                        <a:pt x="704850" y="654245"/>
                      </a:cubicBezTo>
                      <a:cubicBezTo>
                        <a:pt x="704137" y="682755"/>
                        <a:pt x="681329" y="704850"/>
                        <a:pt x="652819" y="704850"/>
                      </a:cubicBezTo>
                      <a:cubicBezTo>
                        <a:pt x="623596" y="704850"/>
                        <a:pt x="600075" y="682042"/>
                        <a:pt x="600075" y="652819"/>
                      </a:cubicBezTo>
                      <a:cubicBezTo>
                        <a:pt x="600075" y="623596"/>
                        <a:pt x="623596" y="600075"/>
                        <a:pt x="652819" y="600075"/>
                      </a:cubicBezTo>
                      <a:close/>
                      <a:moveTo>
                        <a:pt x="653335" y="31750"/>
                      </a:moveTo>
                      <a:cubicBezTo>
                        <a:pt x="310712" y="31750"/>
                        <a:pt x="31750" y="310838"/>
                        <a:pt x="31750" y="652899"/>
                      </a:cubicBezTo>
                      <a:cubicBezTo>
                        <a:pt x="31750" y="996391"/>
                        <a:pt x="310712" y="1274763"/>
                        <a:pt x="653335" y="1274763"/>
                      </a:cubicBezTo>
                      <a:cubicBezTo>
                        <a:pt x="997388" y="1274763"/>
                        <a:pt x="1276350" y="996391"/>
                        <a:pt x="1276350" y="652899"/>
                      </a:cubicBezTo>
                      <a:cubicBezTo>
                        <a:pt x="1276350" y="310838"/>
                        <a:pt x="997388" y="31750"/>
                        <a:pt x="653335" y="31750"/>
                      </a:cubicBezTo>
                      <a:close/>
                      <a:moveTo>
                        <a:pt x="653335" y="0"/>
                      </a:moveTo>
                      <a:cubicBezTo>
                        <a:pt x="828654" y="0"/>
                        <a:pt x="993240" y="67213"/>
                        <a:pt x="1117037" y="190912"/>
                      </a:cubicBezTo>
                      <a:cubicBezTo>
                        <a:pt x="1240119" y="314612"/>
                        <a:pt x="1308100" y="478353"/>
                        <a:pt x="1308100" y="652105"/>
                      </a:cubicBezTo>
                      <a:cubicBezTo>
                        <a:pt x="1308100" y="826572"/>
                        <a:pt x="1240119" y="991028"/>
                        <a:pt x="1117037" y="1114013"/>
                      </a:cubicBezTo>
                      <a:cubicBezTo>
                        <a:pt x="993240" y="1236998"/>
                        <a:pt x="828654" y="1304925"/>
                        <a:pt x="653335" y="1304925"/>
                      </a:cubicBezTo>
                      <a:cubicBezTo>
                        <a:pt x="479446" y="1304925"/>
                        <a:pt x="314860" y="1236998"/>
                        <a:pt x="191063" y="1114013"/>
                      </a:cubicBezTo>
                      <a:cubicBezTo>
                        <a:pt x="67981" y="991028"/>
                        <a:pt x="0" y="826572"/>
                        <a:pt x="0" y="652105"/>
                      </a:cubicBezTo>
                      <a:cubicBezTo>
                        <a:pt x="0" y="478353"/>
                        <a:pt x="67981" y="314612"/>
                        <a:pt x="191063" y="190912"/>
                      </a:cubicBezTo>
                      <a:cubicBezTo>
                        <a:pt x="314860" y="67213"/>
                        <a:pt x="479446" y="0"/>
                        <a:pt x="653335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Freeform 8">
                  <a:extLst>
                    <a:ext uri="{FF2B5EF4-FFF2-40B4-BE49-F238E27FC236}">
                      <a16:creationId xmlns:a16="http://schemas.microsoft.com/office/drawing/2014/main" id="{5B8CC9A1-6C50-4AAC-A45E-15D9905E3C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2276" y="2836863"/>
                  <a:ext cx="1187450" cy="1185863"/>
                </a:xfrm>
                <a:custGeom>
                  <a:avLst/>
                  <a:gdLst>
                    <a:gd name="connsiteX0" fmla="*/ 848886 w 1187450"/>
                    <a:gd name="connsiteY0" fmla="*/ 988741 h 1185863"/>
                    <a:gd name="connsiteX1" fmla="*/ 867013 w 1187450"/>
                    <a:gd name="connsiteY1" fmla="*/ 1004435 h 1185863"/>
                    <a:gd name="connsiteX2" fmla="*/ 856298 w 1187450"/>
                    <a:gd name="connsiteY2" fmla="*/ 1049429 h 1185863"/>
                    <a:gd name="connsiteX3" fmla="*/ 814149 w 1187450"/>
                    <a:gd name="connsiteY3" fmla="*/ 1037092 h 1185863"/>
                    <a:gd name="connsiteX4" fmla="*/ 824865 w 1187450"/>
                    <a:gd name="connsiteY4" fmla="*/ 992097 h 1185863"/>
                    <a:gd name="connsiteX5" fmla="*/ 848886 w 1187450"/>
                    <a:gd name="connsiteY5" fmla="*/ 988741 h 1185863"/>
                    <a:gd name="connsiteX6" fmla="*/ 337155 w 1187450"/>
                    <a:gd name="connsiteY6" fmla="*/ 988741 h 1185863"/>
                    <a:gd name="connsiteX7" fmla="*/ 360998 w 1187450"/>
                    <a:gd name="connsiteY7" fmla="*/ 992097 h 1185863"/>
                    <a:gd name="connsiteX8" fmla="*/ 372428 w 1187450"/>
                    <a:gd name="connsiteY8" fmla="*/ 1037092 h 1185863"/>
                    <a:gd name="connsiteX9" fmla="*/ 329565 w 1187450"/>
                    <a:gd name="connsiteY9" fmla="*/ 1049429 h 1185863"/>
                    <a:gd name="connsiteX10" fmla="*/ 318135 w 1187450"/>
                    <a:gd name="connsiteY10" fmla="*/ 1004435 h 1185863"/>
                    <a:gd name="connsiteX11" fmla="*/ 337155 w 1187450"/>
                    <a:gd name="connsiteY11" fmla="*/ 988741 h 1185863"/>
                    <a:gd name="connsiteX12" fmla="*/ 171767 w 1187450"/>
                    <a:gd name="connsiteY12" fmla="*/ 809079 h 1185863"/>
                    <a:gd name="connsiteX13" fmla="*/ 191452 w 1187450"/>
                    <a:gd name="connsiteY13" fmla="*/ 823278 h 1185863"/>
                    <a:gd name="connsiteX14" fmla="*/ 179841 w 1187450"/>
                    <a:gd name="connsiteY14" fmla="*/ 866141 h 1185863"/>
                    <a:gd name="connsiteX15" fmla="*/ 134121 w 1187450"/>
                    <a:gd name="connsiteY15" fmla="*/ 854710 h 1185863"/>
                    <a:gd name="connsiteX16" fmla="*/ 147184 w 1187450"/>
                    <a:gd name="connsiteY16" fmla="*/ 812562 h 1185863"/>
                    <a:gd name="connsiteX17" fmla="*/ 171767 w 1187450"/>
                    <a:gd name="connsiteY17" fmla="*/ 809079 h 1185863"/>
                    <a:gd name="connsiteX18" fmla="*/ 1014005 w 1187450"/>
                    <a:gd name="connsiteY18" fmla="*/ 808722 h 1185863"/>
                    <a:gd name="connsiteX19" fmla="*/ 1038679 w 1187450"/>
                    <a:gd name="connsiteY19" fmla="*/ 811848 h 1185863"/>
                    <a:gd name="connsiteX20" fmla="*/ 1051016 w 1187450"/>
                    <a:gd name="connsiteY20" fmla="*/ 854710 h 1185863"/>
                    <a:gd name="connsiteX21" fmla="*/ 1006022 w 1187450"/>
                    <a:gd name="connsiteY21" fmla="*/ 865426 h 1185863"/>
                    <a:gd name="connsiteX22" fmla="*/ 993685 w 1187450"/>
                    <a:gd name="connsiteY22" fmla="*/ 823278 h 1185863"/>
                    <a:gd name="connsiteX23" fmla="*/ 1014005 w 1187450"/>
                    <a:gd name="connsiteY23" fmla="*/ 808722 h 1185863"/>
                    <a:gd name="connsiteX24" fmla="*/ 1089605 w 1187450"/>
                    <a:gd name="connsiteY24" fmla="*/ 558800 h 1185863"/>
                    <a:gd name="connsiteX25" fmla="*/ 1057275 w 1187450"/>
                    <a:gd name="connsiteY25" fmla="*/ 590719 h 1185863"/>
                    <a:gd name="connsiteX26" fmla="*/ 1057275 w 1187450"/>
                    <a:gd name="connsiteY26" fmla="*/ 592138 h 1185863"/>
                    <a:gd name="connsiteX27" fmla="*/ 1124808 w 1187450"/>
                    <a:gd name="connsiteY27" fmla="*/ 592138 h 1185863"/>
                    <a:gd name="connsiteX28" fmla="*/ 1140613 w 1187450"/>
                    <a:gd name="connsiteY28" fmla="*/ 592138 h 1185863"/>
                    <a:gd name="connsiteX29" fmla="*/ 1155700 w 1187450"/>
                    <a:gd name="connsiteY29" fmla="*/ 592138 h 1185863"/>
                    <a:gd name="connsiteX30" fmla="*/ 1155700 w 1187450"/>
                    <a:gd name="connsiteY30" fmla="*/ 577952 h 1185863"/>
                    <a:gd name="connsiteX31" fmla="*/ 1155700 w 1187450"/>
                    <a:gd name="connsiteY31" fmla="*/ 577242 h 1185863"/>
                    <a:gd name="connsiteX32" fmla="*/ 1154982 w 1187450"/>
                    <a:gd name="connsiteY32" fmla="*/ 558800 h 1185863"/>
                    <a:gd name="connsiteX33" fmla="*/ 1139895 w 1187450"/>
                    <a:gd name="connsiteY33" fmla="*/ 558800 h 1185863"/>
                    <a:gd name="connsiteX34" fmla="*/ 1123371 w 1187450"/>
                    <a:gd name="connsiteY34" fmla="*/ 558800 h 1185863"/>
                    <a:gd name="connsiteX35" fmla="*/ 1089605 w 1187450"/>
                    <a:gd name="connsiteY35" fmla="*/ 558800 h 1185863"/>
                    <a:gd name="connsiteX36" fmla="*/ 153781 w 1187450"/>
                    <a:gd name="connsiteY36" fmla="*/ 313333 h 1185863"/>
                    <a:gd name="connsiteX37" fmla="*/ 178391 w 1187450"/>
                    <a:gd name="connsiteY37" fmla="*/ 316548 h 1185863"/>
                    <a:gd name="connsiteX38" fmla="*/ 189846 w 1187450"/>
                    <a:gd name="connsiteY38" fmla="*/ 358696 h 1185863"/>
                    <a:gd name="connsiteX39" fmla="*/ 146174 w 1187450"/>
                    <a:gd name="connsiteY39" fmla="*/ 370841 h 1185863"/>
                    <a:gd name="connsiteX40" fmla="*/ 134003 w 1187450"/>
                    <a:gd name="connsiteY40" fmla="*/ 327263 h 1185863"/>
                    <a:gd name="connsiteX41" fmla="*/ 153781 w 1187450"/>
                    <a:gd name="connsiteY41" fmla="*/ 313333 h 1185863"/>
                    <a:gd name="connsiteX42" fmla="*/ 1031746 w 1187450"/>
                    <a:gd name="connsiteY42" fmla="*/ 312237 h 1185863"/>
                    <a:gd name="connsiteX43" fmla="*/ 1006845 w 1187450"/>
                    <a:gd name="connsiteY43" fmla="*/ 315605 h 1185863"/>
                    <a:gd name="connsiteX44" fmla="*/ 995254 w 1187450"/>
                    <a:gd name="connsiteY44" fmla="*/ 358853 h 1185863"/>
                    <a:gd name="connsiteX45" fmla="*/ 1039443 w 1187450"/>
                    <a:gd name="connsiteY45" fmla="*/ 370196 h 1185863"/>
                    <a:gd name="connsiteX46" fmla="*/ 1051757 w 1187450"/>
                    <a:gd name="connsiteY46" fmla="*/ 326949 h 1185863"/>
                    <a:gd name="connsiteX47" fmla="*/ 1031746 w 1187450"/>
                    <a:gd name="connsiteY47" fmla="*/ 312237 h 1185863"/>
                    <a:gd name="connsiteX48" fmla="*/ 832956 w 1187450"/>
                    <a:gd name="connsiteY48" fmla="*/ 130962 h 1185863"/>
                    <a:gd name="connsiteX49" fmla="*/ 813370 w 1187450"/>
                    <a:gd name="connsiteY49" fmla="*/ 146175 h 1185863"/>
                    <a:gd name="connsiteX50" fmla="*/ 825423 w 1187450"/>
                    <a:gd name="connsiteY50" fmla="*/ 189131 h 1185863"/>
                    <a:gd name="connsiteX51" fmla="*/ 868671 w 1187450"/>
                    <a:gd name="connsiteY51" fmla="*/ 177676 h 1185863"/>
                    <a:gd name="connsiteX52" fmla="*/ 857327 w 1187450"/>
                    <a:gd name="connsiteY52" fmla="*/ 134004 h 1185863"/>
                    <a:gd name="connsiteX53" fmla="*/ 832956 w 1187450"/>
                    <a:gd name="connsiteY53" fmla="*/ 130962 h 1185863"/>
                    <a:gd name="connsiteX54" fmla="*/ 353765 w 1187450"/>
                    <a:gd name="connsiteY54" fmla="*/ 130756 h 1185863"/>
                    <a:gd name="connsiteX55" fmla="*/ 371713 w 1187450"/>
                    <a:gd name="connsiteY55" fmla="*/ 145696 h 1185863"/>
                    <a:gd name="connsiteX56" fmla="*/ 360283 w 1187450"/>
                    <a:gd name="connsiteY56" fmla="*/ 190609 h 1185863"/>
                    <a:gd name="connsiteX57" fmla="*/ 317420 w 1187450"/>
                    <a:gd name="connsiteY57" fmla="*/ 179019 h 1185863"/>
                    <a:gd name="connsiteX58" fmla="*/ 325993 w 1187450"/>
                    <a:gd name="connsiteY58" fmla="*/ 135555 h 1185863"/>
                    <a:gd name="connsiteX59" fmla="*/ 328851 w 1187450"/>
                    <a:gd name="connsiteY59" fmla="*/ 134106 h 1185863"/>
                    <a:gd name="connsiteX60" fmla="*/ 330994 w 1187450"/>
                    <a:gd name="connsiteY60" fmla="*/ 132657 h 1185863"/>
                    <a:gd name="connsiteX61" fmla="*/ 353765 w 1187450"/>
                    <a:gd name="connsiteY61" fmla="*/ 130756 h 1185863"/>
                    <a:gd name="connsiteX62" fmla="*/ 560794 w 1187450"/>
                    <a:gd name="connsiteY62" fmla="*/ 33338 h 1185863"/>
                    <a:gd name="connsiteX63" fmla="*/ 32466 w 1187450"/>
                    <a:gd name="connsiteY63" fmla="*/ 559752 h 1185863"/>
                    <a:gd name="connsiteX64" fmla="*/ 47500 w 1187450"/>
                    <a:gd name="connsiteY64" fmla="*/ 559752 h 1185863"/>
                    <a:gd name="connsiteX65" fmla="*/ 63249 w 1187450"/>
                    <a:gd name="connsiteY65" fmla="*/ 559752 h 1185863"/>
                    <a:gd name="connsiteX66" fmla="*/ 95465 w 1187450"/>
                    <a:gd name="connsiteY66" fmla="*/ 559752 h 1185863"/>
                    <a:gd name="connsiteX67" fmla="*/ 127680 w 1187450"/>
                    <a:gd name="connsiteY67" fmla="*/ 591938 h 1185863"/>
                    <a:gd name="connsiteX68" fmla="*/ 95465 w 1187450"/>
                    <a:gd name="connsiteY68" fmla="*/ 624123 h 1185863"/>
                    <a:gd name="connsiteX69" fmla="*/ 62534 w 1187450"/>
                    <a:gd name="connsiteY69" fmla="*/ 624123 h 1185863"/>
                    <a:gd name="connsiteX70" fmla="*/ 46784 w 1187450"/>
                    <a:gd name="connsiteY70" fmla="*/ 624123 h 1185863"/>
                    <a:gd name="connsiteX71" fmla="*/ 31750 w 1187450"/>
                    <a:gd name="connsiteY71" fmla="*/ 624123 h 1185863"/>
                    <a:gd name="connsiteX72" fmla="*/ 560794 w 1187450"/>
                    <a:gd name="connsiteY72" fmla="*/ 1154113 h 1185863"/>
                    <a:gd name="connsiteX73" fmla="*/ 560794 w 1187450"/>
                    <a:gd name="connsiteY73" fmla="*/ 1139093 h 1185863"/>
                    <a:gd name="connsiteX74" fmla="*/ 560794 w 1187450"/>
                    <a:gd name="connsiteY74" fmla="*/ 1123358 h 1185863"/>
                    <a:gd name="connsiteX75" fmla="*/ 560794 w 1187450"/>
                    <a:gd name="connsiteY75" fmla="*/ 1089027 h 1185863"/>
                    <a:gd name="connsiteX76" fmla="*/ 593009 w 1187450"/>
                    <a:gd name="connsiteY76" fmla="*/ 1056841 h 1185863"/>
                    <a:gd name="connsiteX77" fmla="*/ 625224 w 1187450"/>
                    <a:gd name="connsiteY77" fmla="*/ 1089027 h 1185863"/>
                    <a:gd name="connsiteX78" fmla="*/ 625224 w 1187450"/>
                    <a:gd name="connsiteY78" fmla="*/ 1123358 h 1185863"/>
                    <a:gd name="connsiteX79" fmla="*/ 625224 w 1187450"/>
                    <a:gd name="connsiteY79" fmla="*/ 1139093 h 1185863"/>
                    <a:gd name="connsiteX80" fmla="*/ 625224 w 1187450"/>
                    <a:gd name="connsiteY80" fmla="*/ 1154113 h 1185863"/>
                    <a:gd name="connsiteX81" fmla="*/ 1155700 w 1187450"/>
                    <a:gd name="connsiteY81" fmla="*/ 624123 h 1185863"/>
                    <a:gd name="connsiteX82" fmla="*/ 1140666 w 1187450"/>
                    <a:gd name="connsiteY82" fmla="*/ 624123 h 1185863"/>
                    <a:gd name="connsiteX83" fmla="*/ 1124917 w 1187450"/>
                    <a:gd name="connsiteY83" fmla="*/ 624123 h 1185863"/>
                    <a:gd name="connsiteX84" fmla="*/ 1090554 w 1187450"/>
                    <a:gd name="connsiteY84" fmla="*/ 624123 h 1185863"/>
                    <a:gd name="connsiteX85" fmla="*/ 1058339 w 1187450"/>
                    <a:gd name="connsiteY85" fmla="*/ 593368 h 1185863"/>
                    <a:gd name="connsiteX86" fmla="*/ 677485 w 1187450"/>
                    <a:gd name="connsiteY86" fmla="*/ 593368 h 1185863"/>
                    <a:gd name="connsiteX87" fmla="*/ 677485 w 1187450"/>
                    <a:gd name="connsiteY87" fmla="*/ 591938 h 1185863"/>
                    <a:gd name="connsiteX88" fmla="*/ 593009 w 1187450"/>
                    <a:gd name="connsiteY88" fmla="*/ 507540 h 1185863"/>
                    <a:gd name="connsiteX89" fmla="*/ 593009 w 1187450"/>
                    <a:gd name="connsiteY89" fmla="*/ 127749 h 1185863"/>
                    <a:gd name="connsiteX90" fmla="*/ 560794 w 1187450"/>
                    <a:gd name="connsiteY90" fmla="*/ 95564 h 1185863"/>
                    <a:gd name="connsiteX91" fmla="*/ 560794 w 1187450"/>
                    <a:gd name="connsiteY91" fmla="*/ 64809 h 1185863"/>
                    <a:gd name="connsiteX92" fmla="*/ 560794 w 1187450"/>
                    <a:gd name="connsiteY92" fmla="*/ 49073 h 1185863"/>
                    <a:gd name="connsiteX93" fmla="*/ 560794 w 1187450"/>
                    <a:gd name="connsiteY93" fmla="*/ 33338 h 1185863"/>
                    <a:gd name="connsiteX94" fmla="*/ 593725 w 1187450"/>
                    <a:gd name="connsiteY94" fmla="*/ 31750 h 1185863"/>
                    <a:gd name="connsiteX95" fmla="*/ 593725 w 1187450"/>
                    <a:gd name="connsiteY95" fmla="*/ 47388 h 1185863"/>
                    <a:gd name="connsiteX96" fmla="*/ 593725 w 1187450"/>
                    <a:gd name="connsiteY96" fmla="*/ 63026 h 1185863"/>
                    <a:gd name="connsiteX97" fmla="*/ 593725 w 1187450"/>
                    <a:gd name="connsiteY97" fmla="*/ 127000 h 1185863"/>
                    <a:gd name="connsiteX98" fmla="*/ 625475 w 1187450"/>
                    <a:gd name="connsiteY98" fmla="*/ 95013 h 1185863"/>
                    <a:gd name="connsiteX99" fmla="*/ 625475 w 1187450"/>
                    <a:gd name="connsiteY99" fmla="*/ 64448 h 1185863"/>
                    <a:gd name="connsiteX100" fmla="*/ 625475 w 1187450"/>
                    <a:gd name="connsiteY100" fmla="*/ 48810 h 1185863"/>
                    <a:gd name="connsiteX101" fmla="*/ 625475 w 1187450"/>
                    <a:gd name="connsiteY101" fmla="*/ 33172 h 1185863"/>
                    <a:gd name="connsiteX102" fmla="*/ 625475 w 1187450"/>
                    <a:gd name="connsiteY102" fmla="*/ 32461 h 1185863"/>
                    <a:gd name="connsiteX103" fmla="*/ 609953 w 1187450"/>
                    <a:gd name="connsiteY103" fmla="*/ 32461 h 1185863"/>
                    <a:gd name="connsiteX104" fmla="*/ 608542 w 1187450"/>
                    <a:gd name="connsiteY104" fmla="*/ 32461 h 1185863"/>
                    <a:gd name="connsiteX105" fmla="*/ 595842 w 1187450"/>
                    <a:gd name="connsiteY105" fmla="*/ 31750 h 1185863"/>
                    <a:gd name="connsiteX106" fmla="*/ 594431 w 1187450"/>
                    <a:gd name="connsiteY106" fmla="*/ 31750 h 1185863"/>
                    <a:gd name="connsiteX107" fmla="*/ 593725 w 1187450"/>
                    <a:gd name="connsiteY107" fmla="*/ 31750 h 1185863"/>
                    <a:gd name="connsiteX108" fmla="*/ 593010 w 1187450"/>
                    <a:gd name="connsiteY108" fmla="*/ 0 h 1185863"/>
                    <a:gd name="connsiteX109" fmla="*/ 593725 w 1187450"/>
                    <a:gd name="connsiteY109" fmla="*/ 0 h 1185863"/>
                    <a:gd name="connsiteX110" fmla="*/ 610893 w 1187450"/>
                    <a:gd name="connsiteY110" fmla="*/ 715 h 1185863"/>
                    <a:gd name="connsiteX111" fmla="*/ 615900 w 1187450"/>
                    <a:gd name="connsiteY111" fmla="*/ 715 h 1185863"/>
                    <a:gd name="connsiteX112" fmla="*/ 625200 w 1187450"/>
                    <a:gd name="connsiteY112" fmla="*/ 715 h 1185863"/>
                    <a:gd name="connsiteX113" fmla="*/ 628061 w 1187450"/>
                    <a:gd name="connsiteY113" fmla="*/ 1431 h 1185863"/>
                    <a:gd name="connsiteX114" fmla="*/ 633784 w 1187450"/>
                    <a:gd name="connsiteY114" fmla="*/ 1431 h 1185863"/>
                    <a:gd name="connsiteX115" fmla="*/ 645944 w 1187450"/>
                    <a:gd name="connsiteY115" fmla="*/ 2146 h 1185863"/>
                    <a:gd name="connsiteX116" fmla="*/ 650236 w 1187450"/>
                    <a:gd name="connsiteY116" fmla="*/ 2861 h 1185863"/>
                    <a:gd name="connsiteX117" fmla="*/ 665258 w 1187450"/>
                    <a:gd name="connsiteY117" fmla="*/ 4292 h 1185863"/>
                    <a:gd name="connsiteX118" fmla="*/ 666689 w 1187450"/>
                    <a:gd name="connsiteY118" fmla="*/ 5007 h 1185863"/>
                    <a:gd name="connsiteX119" fmla="*/ 705317 w 1187450"/>
                    <a:gd name="connsiteY119" fmla="*/ 10729 h 1185863"/>
                    <a:gd name="connsiteX120" fmla="*/ 718908 w 1187450"/>
                    <a:gd name="connsiteY120" fmla="*/ 13590 h 1185863"/>
                    <a:gd name="connsiteX121" fmla="*/ 719624 w 1187450"/>
                    <a:gd name="connsiteY121" fmla="*/ 13590 h 1185863"/>
                    <a:gd name="connsiteX122" fmla="*/ 736791 w 1187450"/>
                    <a:gd name="connsiteY122" fmla="*/ 17166 h 1185863"/>
                    <a:gd name="connsiteX123" fmla="*/ 757536 w 1187450"/>
                    <a:gd name="connsiteY123" fmla="*/ 22888 h 1185863"/>
                    <a:gd name="connsiteX124" fmla="*/ 778281 w 1187450"/>
                    <a:gd name="connsiteY124" fmla="*/ 29325 h 1185863"/>
                    <a:gd name="connsiteX125" fmla="*/ 791157 w 1187450"/>
                    <a:gd name="connsiteY125" fmla="*/ 33616 h 1185863"/>
                    <a:gd name="connsiteX126" fmla="*/ 818339 w 1187450"/>
                    <a:gd name="connsiteY126" fmla="*/ 44345 h 1185863"/>
                    <a:gd name="connsiteX127" fmla="*/ 819055 w 1187450"/>
                    <a:gd name="connsiteY127" fmla="*/ 44345 h 1185863"/>
                    <a:gd name="connsiteX128" fmla="*/ 833361 w 1187450"/>
                    <a:gd name="connsiteY128" fmla="*/ 50782 h 1185863"/>
                    <a:gd name="connsiteX129" fmla="*/ 857682 w 1187450"/>
                    <a:gd name="connsiteY129" fmla="*/ 61511 h 1185863"/>
                    <a:gd name="connsiteX130" fmla="*/ 858398 w 1187450"/>
                    <a:gd name="connsiteY130" fmla="*/ 62226 h 1185863"/>
                    <a:gd name="connsiteX131" fmla="*/ 894880 w 1187450"/>
                    <a:gd name="connsiteY131" fmla="*/ 81537 h 1185863"/>
                    <a:gd name="connsiteX132" fmla="*/ 895595 w 1187450"/>
                    <a:gd name="connsiteY132" fmla="*/ 82252 h 1185863"/>
                    <a:gd name="connsiteX133" fmla="*/ 921347 w 1187450"/>
                    <a:gd name="connsiteY133" fmla="*/ 98703 h 1185863"/>
                    <a:gd name="connsiteX134" fmla="*/ 922062 w 1187450"/>
                    <a:gd name="connsiteY134" fmla="*/ 99418 h 1185863"/>
                    <a:gd name="connsiteX135" fmla="*/ 930646 w 1187450"/>
                    <a:gd name="connsiteY135" fmla="*/ 104425 h 1185863"/>
                    <a:gd name="connsiteX136" fmla="*/ 932077 w 1187450"/>
                    <a:gd name="connsiteY136" fmla="*/ 105855 h 1185863"/>
                    <a:gd name="connsiteX137" fmla="*/ 955683 w 1187450"/>
                    <a:gd name="connsiteY137" fmla="*/ 122306 h 1185863"/>
                    <a:gd name="connsiteX138" fmla="*/ 957114 w 1187450"/>
                    <a:gd name="connsiteY138" fmla="*/ 123736 h 1185863"/>
                    <a:gd name="connsiteX139" fmla="*/ 964267 w 1187450"/>
                    <a:gd name="connsiteY139" fmla="*/ 129458 h 1185863"/>
                    <a:gd name="connsiteX140" fmla="*/ 966413 w 1187450"/>
                    <a:gd name="connsiteY140" fmla="*/ 130889 h 1185863"/>
                    <a:gd name="connsiteX141" fmla="*/ 987157 w 1187450"/>
                    <a:gd name="connsiteY141" fmla="*/ 148769 h 1185863"/>
                    <a:gd name="connsiteX142" fmla="*/ 990019 w 1187450"/>
                    <a:gd name="connsiteY142" fmla="*/ 151630 h 1185863"/>
                    <a:gd name="connsiteX143" fmla="*/ 996457 w 1187450"/>
                    <a:gd name="connsiteY143" fmla="*/ 156637 h 1185863"/>
                    <a:gd name="connsiteX144" fmla="*/ 998603 w 1187450"/>
                    <a:gd name="connsiteY144" fmla="*/ 159498 h 1185863"/>
                    <a:gd name="connsiteX145" fmla="*/ 1011479 w 1187450"/>
                    <a:gd name="connsiteY145" fmla="*/ 170227 h 1185863"/>
                    <a:gd name="connsiteX146" fmla="*/ 1012194 w 1187450"/>
                    <a:gd name="connsiteY146" fmla="*/ 171657 h 1185863"/>
                    <a:gd name="connsiteX147" fmla="*/ 1017917 w 1187450"/>
                    <a:gd name="connsiteY147" fmla="*/ 177379 h 1185863"/>
                    <a:gd name="connsiteX148" fmla="*/ 1020778 w 1187450"/>
                    <a:gd name="connsiteY148" fmla="*/ 180240 h 1185863"/>
                    <a:gd name="connsiteX149" fmla="*/ 1026501 w 1187450"/>
                    <a:gd name="connsiteY149" fmla="*/ 185962 h 1185863"/>
                    <a:gd name="connsiteX150" fmla="*/ 1029362 w 1187450"/>
                    <a:gd name="connsiteY150" fmla="*/ 188823 h 1185863"/>
                    <a:gd name="connsiteX151" fmla="*/ 1038661 w 1187450"/>
                    <a:gd name="connsiteY151" fmla="*/ 198836 h 1185863"/>
                    <a:gd name="connsiteX152" fmla="*/ 1041523 w 1187450"/>
                    <a:gd name="connsiteY152" fmla="*/ 202412 h 1185863"/>
                    <a:gd name="connsiteX153" fmla="*/ 1046530 w 1187450"/>
                    <a:gd name="connsiteY153" fmla="*/ 208134 h 1185863"/>
                    <a:gd name="connsiteX154" fmla="*/ 1049391 w 1187450"/>
                    <a:gd name="connsiteY154" fmla="*/ 212426 h 1185863"/>
                    <a:gd name="connsiteX155" fmla="*/ 1054399 w 1187450"/>
                    <a:gd name="connsiteY155" fmla="*/ 217432 h 1185863"/>
                    <a:gd name="connsiteX156" fmla="*/ 1057975 w 1187450"/>
                    <a:gd name="connsiteY156" fmla="*/ 222439 h 1185863"/>
                    <a:gd name="connsiteX157" fmla="*/ 1064413 w 1187450"/>
                    <a:gd name="connsiteY157" fmla="*/ 231022 h 1185863"/>
                    <a:gd name="connsiteX158" fmla="*/ 1068705 w 1187450"/>
                    <a:gd name="connsiteY158" fmla="*/ 236028 h 1185863"/>
                    <a:gd name="connsiteX159" fmla="*/ 1072282 w 1187450"/>
                    <a:gd name="connsiteY159" fmla="*/ 241035 h 1185863"/>
                    <a:gd name="connsiteX160" fmla="*/ 1075859 w 1187450"/>
                    <a:gd name="connsiteY160" fmla="*/ 246042 h 1185863"/>
                    <a:gd name="connsiteX161" fmla="*/ 1079435 w 1187450"/>
                    <a:gd name="connsiteY161" fmla="*/ 251048 h 1185863"/>
                    <a:gd name="connsiteX162" fmla="*/ 1084442 w 1187450"/>
                    <a:gd name="connsiteY162" fmla="*/ 258201 h 1185863"/>
                    <a:gd name="connsiteX163" fmla="*/ 1089450 w 1187450"/>
                    <a:gd name="connsiteY163" fmla="*/ 264638 h 1185863"/>
                    <a:gd name="connsiteX164" fmla="*/ 1093026 w 1187450"/>
                    <a:gd name="connsiteY164" fmla="*/ 271075 h 1185863"/>
                    <a:gd name="connsiteX165" fmla="*/ 1096603 w 1187450"/>
                    <a:gd name="connsiteY165" fmla="*/ 276082 h 1185863"/>
                    <a:gd name="connsiteX166" fmla="*/ 1100180 w 1187450"/>
                    <a:gd name="connsiteY166" fmla="*/ 281804 h 1185863"/>
                    <a:gd name="connsiteX167" fmla="*/ 1103041 w 1187450"/>
                    <a:gd name="connsiteY167" fmla="*/ 286810 h 1185863"/>
                    <a:gd name="connsiteX168" fmla="*/ 1108764 w 1187450"/>
                    <a:gd name="connsiteY168" fmla="*/ 296824 h 1185863"/>
                    <a:gd name="connsiteX169" fmla="*/ 1111625 w 1187450"/>
                    <a:gd name="connsiteY169" fmla="*/ 301115 h 1185863"/>
                    <a:gd name="connsiteX170" fmla="*/ 1115202 w 1187450"/>
                    <a:gd name="connsiteY170" fmla="*/ 307552 h 1185863"/>
                    <a:gd name="connsiteX171" fmla="*/ 1118063 w 1187450"/>
                    <a:gd name="connsiteY171" fmla="*/ 312559 h 1185863"/>
                    <a:gd name="connsiteX172" fmla="*/ 1121640 w 1187450"/>
                    <a:gd name="connsiteY172" fmla="*/ 319711 h 1185863"/>
                    <a:gd name="connsiteX173" fmla="*/ 1123786 w 1187450"/>
                    <a:gd name="connsiteY173" fmla="*/ 324003 h 1185863"/>
                    <a:gd name="connsiteX174" fmla="*/ 1128793 w 1187450"/>
                    <a:gd name="connsiteY174" fmla="*/ 334731 h 1185863"/>
                    <a:gd name="connsiteX175" fmla="*/ 1130939 w 1187450"/>
                    <a:gd name="connsiteY175" fmla="*/ 339022 h 1185863"/>
                    <a:gd name="connsiteX176" fmla="*/ 1134516 w 1187450"/>
                    <a:gd name="connsiteY176" fmla="*/ 346175 h 1185863"/>
                    <a:gd name="connsiteX177" fmla="*/ 1136662 w 1187450"/>
                    <a:gd name="connsiteY177" fmla="*/ 351182 h 1185863"/>
                    <a:gd name="connsiteX178" fmla="*/ 1140238 w 1187450"/>
                    <a:gd name="connsiteY178" fmla="*/ 359049 h 1185863"/>
                    <a:gd name="connsiteX179" fmla="*/ 1141669 w 1187450"/>
                    <a:gd name="connsiteY179" fmla="*/ 362625 h 1185863"/>
                    <a:gd name="connsiteX180" fmla="*/ 1145961 w 1187450"/>
                    <a:gd name="connsiteY180" fmla="*/ 374069 h 1185863"/>
                    <a:gd name="connsiteX181" fmla="*/ 1147392 w 1187450"/>
                    <a:gd name="connsiteY181" fmla="*/ 378361 h 1185863"/>
                    <a:gd name="connsiteX182" fmla="*/ 1150253 w 1187450"/>
                    <a:gd name="connsiteY182" fmla="*/ 386228 h 1185863"/>
                    <a:gd name="connsiteX183" fmla="*/ 1152399 w 1187450"/>
                    <a:gd name="connsiteY183" fmla="*/ 391235 h 1185863"/>
                    <a:gd name="connsiteX184" fmla="*/ 1155260 w 1187450"/>
                    <a:gd name="connsiteY184" fmla="*/ 399818 h 1185863"/>
                    <a:gd name="connsiteX185" fmla="*/ 1156691 w 1187450"/>
                    <a:gd name="connsiteY185" fmla="*/ 403394 h 1185863"/>
                    <a:gd name="connsiteX186" fmla="*/ 1160268 w 1187450"/>
                    <a:gd name="connsiteY186" fmla="*/ 414838 h 1185863"/>
                    <a:gd name="connsiteX187" fmla="*/ 1161698 w 1187450"/>
                    <a:gd name="connsiteY187" fmla="*/ 419129 h 1185863"/>
                    <a:gd name="connsiteX188" fmla="*/ 1163844 w 1187450"/>
                    <a:gd name="connsiteY188" fmla="*/ 427712 h 1185863"/>
                    <a:gd name="connsiteX189" fmla="*/ 1165275 w 1187450"/>
                    <a:gd name="connsiteY189" fmla="*/ 432719 h 1185863"/>
                    <a:gd name="connsiteX190" fmla="*/ 1168136 w 1187450"/>
                    <a:gd name="connsiteY190" fmla="*/ 442732 h 1185863"/>
                    <a:gd name="connsiteX191" fmla="*/ 1168852 w 1187450"/>
                    <a:gd name="connsiteY191" fmla="*/ 445593 h 1185863"/>
                    <a:gd name="connsiteX192" fmla="*/ 1171713 w 1187450"/>
                    <a:gd name="connsiteY192" fmla="*/ 457037 h 1185863"/>
                    <a:gd name="connsiteX193" fmla="*/ 1173144 w 1187450"/>
                    <a:gd name="connsiteY193" fmla="*/ 462043 h 1185863"/>
                    <a:gd name="connsiteX194" fmla="*/ 1174574 w 1187450"/>
                    <a:gd name="connsiteY194" fmla="*/ 470626 h 1185863"/>
                    <a:gd name="connsiteX195" fmla="*/ 1176005 w 1187450"/>
                    <a:gd name="connsiteY195" fmla="*/ 474918 h 1185863"/>
                    <a:gd name="connsiteX196" fmla="*/ 1178151 w 1187450"/>
                    <a:gd name="connsiteY196" fmla="*/ 487792 h 1185863"/>
                    <a:gd name="connsiteX197" fmla="*/ 1178866 w 1187450"/>
                    <a:gd name="connsiteY197" fmla="*/ 491368 h 1185863"/>
                    <a:gd name="connsiteX198" fmla="*/ 1180297 w 1187450"/>
                    <a:gd name="connsiteY198" fmla="*/ 501381 h 1185863"/>
                    <a:gd name="connsiteX199" fmla="*/ 1181012 w 1187450"/>
                    <a:gd name="connsiteY199" fmla="*/ 507103 h 1185863"/>
                    <a:gd name="connsiteX200" fmla="*/ 1182443 w 1187450"/>
                    <a:gd name="connsiteY200" fmla="*/ 515686 h 1185863"/>
                    <a:gd name="connsiteX201" fmla="*/ 1183158 w 1187450"/>
                    <a:gd name="connsiteY201" fmla="*/ 521408 h 1185863"/>
                    <a:gd name="connsiteX202" fmla="*/ 1183874 w 1187450"/>
                    <a:gd name="connsiteY202" fmla="*/ 529276 h 1185863"/>
                    <a:gd name="connsiteX203" fmla="*/ 1184589 w 1187450"/>
                    <a:gd name="connsiteY203" fmla="*/ 535713 h 1185863"/>
                    <a:gd name="connsiteX204" fmla="*/ 1185304 w 1187450"/>
                    <a:gd name="connsiteY204" fmla="*/ 543580 h 1185863"/>
                    <a:gd name="connsiteX205" fmla="*/ 1186020 w 1187450"/>
                    <a:gd name="connsiteY205" fmla="*/ 550017 h 1185863"/>
                    <a:gd name="connsiteX206" fmla="*/ 1186735 w 1187450"/>
                    <a:gd name="connsiteY206" fmla="*/ 558600 h 1185863"/>
                    <a:gd name="connsiteX207" fmla="*/ 1186735 w 1187450"/>
                    <a:gd name="connsiteY207" fmla="*/ 559316 h 1185863"/>
                    <a:gd name="connsiteX208" fmla="*/ 1186735 w 1187450"/>
                    <a:gd name="connsiteY208" fmla="*/ 564322 h 1185863"/>
                    <a:gd name="connsiteX209" fmla="*/ 1187450 w 1187450"/>
                    <a:gd name="connsiteY209" fmla="*/ 573620 h 1185863"/>
                    <a:gd name="connsiteX210" fmla="*/ 1187450 w 1187450"/>
                    <a:gd name="connsiteY210" fmla="*/ 578627 h 1185863"/>
                    <a:gd name="connsiteX211" fmla="*/ 1187450 w 1187450"/>
                    <a:gd name="connsiteY211" fmla="*/ 592932 h 1185863"/>
                    <a:gd name="connsiteX212" fmla="*/ 1186735 w 1187450"/>
                    <a:gd name="connsiteY212" fmla="*/ 623687 h 1185863"/>
                    <a:gd name="connsiteX213" fmla="*/ 625200 w 1187450"/>
                    <a:gd name="connsiteY213" fmla="*/ 1185148 h 1185863"/>
                    <a:gd name="connsiteX214" fmla="*/ 593725 w 1187450"/>
                    <a:gd name="connsiteY214" fmla="*/ 1185863 h 1185863"/>
                    <a:gd name="connsiteX215" fmla="*/ 560820 w 1187450"/>
                    <a:gd name="connsiteY215" fmla="*/ 1185148 h 1185863"/>
                    <a:gd name="connsiteX216" fmla="*/ 517900 w 1187450"/>
                    <a:gd name="connsiteY216" fmla="*/ 1180857 h 1185863"/>
                    <a:gd name="connsiteX217" fmla="*/ 488572 w 1187450"/>
                    <a:gd name="connsiteY217" fmla="*/ 1176565 h 1185863"/>
                    <a:gd name="connsiteX218" fmla="*/ 459243 w 1187450"/>
                    <a:gd name="connsiteY218" fmla="*/ 1170843 h 1185863"/>
                    <a:gd name="connsiteX219" fmla="*/ 431345 w 1187450"/>
                    <a:gd name="connsiteY219" fmla="*/ 1163691 h 1185863"/>
                    <a:gd name="connsiteX220" fmla="*/ 417038 w 1187450"/>
                    <a:gd name="connsiteY220" fmla="*/ 1159399 h 1185863"/>
                    <a:gd name="connsiteX221" fmla="*/ 375549 w 1187450"/>
                    <a:gd name="connsiteY221" fmla="*/ 1145095 h 1185863"/>
                    <a:gd name="connsiteX222" fmla="*/ 349082 w 1187450"/>
                    <a:gd name="connsiteY222" fmla="*/ 1134366 h 1185863"/>
                    <a:gd name="connsiteX223" fmla="*/ 285417 w 1187450"/>
                    <a:gd name="connsiteY223" fmla="*/ 1100750 h 1185863"/>
                    <a:gd name="connsiteX224" fmla="*/ 238206 w 1187450"/>
                    <a:gd name="connsiteY224" fmla="*/ 1068564 h 1185863"/>
                    <a:gd name="connsiteX225" fmla="*/ 163811 w 1187450"/>
                    <a:gd name="connsiteY225" fmla="*/ 1002762 h 1185863"/>
                    <a:gd name="connsiteX226" fmla="*/ 125899 w 1187450"/>
                    <a:gd name="connsiteY226" fmla="*/ 959133 h 1185863"/>
                    <a:gd name="connsiteX227" fmla="*/ 100862 w 1187450"/>
                    <a:gd name="connsiteY227" fmla="*/ 924802 h 1185863"/>
                    <a:gd name="connsiteX228" fmla="*/ 92993 w 1187450"/>
                    <a:gd name="connsiteY228" fmla="*/ 912643 h 1185863"/>
                    <a:gd name="connsiteX229" fmla="*/ 77971 w 1187450"/>
                    <a:gd name="connsiteY229" fmla="*/ 888325 h 1185863"/>
                    <a:gd name="connsiteX230" fmla="*/ 45781 w 1187450"/>
                    <a:gd name="connsiteY230" fmla="*/ 823953 h 1185863"/>
                    <a:gd name="connsiteX231" fmla="*/ 36482 w 1187450"/>
                    <a:gd name="connsiteY231" fmla="*/ 796774 h 1185863"/>
                    <a:gd name="connsiteX232" fmla="*/ 716 w 1187450"/>
                    <a:gd name="connsiteY232" fmla="*/ 623687 h 1185863"/>
                    <a:gd name="connsiteX233" fmla="*/ 0 w 1187450"/>
                    <a:gd name="connsiteY233" fmla="*/ 592932 h 1185863"/>
                    <a:gd name="connsiteX234" fmla="*/ 716 w 1187450"/>
                    <a:gd name="connsiteY234" fmla="*/ 559316 h 1185863"/>
                    <a:gd name="connsiteX235" fmla="*/ 36482 w 1187450"/>
                    <a:gd name="connsiteY235" fmla="*/ 389089 h 1185863"/>
                    <a:gd name="connsiteX236" fmla="*/ 45781 w 1187450"/>
                    <a:gd name="connsiteY236" fmla="*/ 361910 h 1185863"/>
                    <a:gd name="connsiteX237" fmla="*/ 77971 w 1187450"/>
                    <a:gd name="connsiteY237" fmla="*/ 297539 h 1185863"/>
                    <a:gd name="connsiteX238" fmla="*/ 92993 w 1187450"/>
                    <a:gd name="connsiteY238" fmla="*/ 273221 h 1185863"/>
                    <a:gd name="connsiteX239" fmla="*/ 100862 w 1187450"/>
                    <a:gd name="connsiteY239" fmla="*/ 261062 h 1185863"/>
                    <a:gd name="connsiteX240" fmla="*/ 125899 w 1187450"/>
                    <a:gd name="connsiteY240" fmla="*/ 226730 h 1185863"/>
                    <a:gd name="connsiteX241" fmla="*/ 163811 w 1187450"/>
                    <a:gd name="connsiteY241" fmla="*/ 183816 h 1185863"/>
                    <a:gd name="connsiteX242" fmla="*/ 238206 w 1187450"/>
                    <a:gd name="connsiteY242" fmla="*/ 118014 h 1185863"/>
                    <a:gd name="connsiteX243" fmla="*/ 285417 w 1187450"/>
                    <a:gd name="connsiteY243" fmla="*/ 85829 h 1185863"/>
                    <a:gd name="connsiteX244" fmla="*/ 349082 w 1187450"/>
                    <a:gd name="connsiteY244" fmla="*/ 52928 h 1185863"/>
                    <a:gd name="connsiteX245" fmla="*/ 375549 w 1187450"/>
                    <a:gd name="connsiteY245" fmla="*/ 41484 h 1185863"/>
                    <a:gd name="connsiteX246" fmla="*/ 417038 w 1187450"/>
                    <a:gd name="connsiteY246" fmla="*/ 27179 h 1185863"/>
                    <a:gd name="connsiteX247" fmla="*/ 431345 w 1187450"/>
                    <a:gd name="connsiteY247" fmla="*/ 22888 h 1185863"/>
                    <a:gd name="connsiteX248" fmla="*/ 459243 w 1187450"/>
                    <a:gd name="connsiteY248" fmla="*/ 15735 h 1185863"/>
                    <a:gd name="connsiteX249" fmla="*/ 488572 w 1187450"/>
                    <a:gd name="connsiteY249" fmla="*/ 9298 h 1185863"/>
                    <a:gd name="connsiteX250" fmla="*/ 517900 w 1187450"/>
                    <a:gd name="connsiteY250" fmla="*/ 5007 h 1185863"/>
                    <a:gd name="connsiteX251" fmla="*/ 560820 w 1187450"/>
                    <a:gd name="connsiteY251" fmla="*/ 1431 h 1185863"/>
                    <a:gd name="connsiteX252" fmla="*/ 593010 w 1187450"/>
                    <a:gd name="connsiteY252" fmla="*/ 0 h 1185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</a:cxnLst>
                  <a:rect l="l" t="t" r="r" b="b"/>
                  <a:pathLst>
                    <a:path w="1187450" h="1185863">
                      <a:moveTo>
                        <a:pt x="848886" y="988741"/>
                      </a:moveTo>
                      <a:cubicBezTo>
                        <a:pt x="856476" y="991009"/>
                        <a:pt x="863084" y="996452"/>
                        <a:pt x="867013" y="1004435"/>
                      </a:cubicBezTo>
                      <a:cubicBezTo>
                        <a:pt x="876300" y="1020400"/>
                        <a:pt x="871300" y="1039995"/>
                        <a:pt x="856298" y="1049429"/>
                      </a:cubicBezTo>
                      <a:cubicBezTo>
                        <a:pt x="841296" y="1058863"/>
                        <a:pt x="822007" y="1053783"/>
                        <a:pt x="814149" y="1037092"/>
                      </a:cubicBezTo>
                      <a:cubicBezTo>
                        <a:pt x="804862" y="1021852"/>
                        <a:pt x="810577" y="1001532"/>
                        <a:pt x="824865" y="992097"/>
                      </a:cubicBezTo>
                      <a:cubicBezTo>
                        <a:pt x="832723" y="987380"/>
                        <a:pt x="841296" y="986473"/>
                        <a:pt x="848886" y="988741"/>
                      </a:cubicBezTo>
                      <a:close/>
                      <a:moveTo>
                        <a:pt x="337155" y="988741"/>
                      </a:moveTo>
                      <a:cubicBezTo>
                        <a:pt x="344924" y="986473"/>
                        <a:pt x="353497" y="987380"/>
                        <a:pt x="360998" y="992097"/>
                      </a:cubicBezTo>
                      <a:cubicBezTo>
                        <a:pt x="376000" y="1001532"/>
                        <a:pt x="381000" y="1021852"/>
                        <a:pt x="372428" y="1037092"/>
                      </a:cubicBezTo>
                      <a:cubicBezTo>
                        <a:pt x="363855" y="1053783"/>
                        <a:pt x="344567" y="1058863"/>
                        <a:pt x="329565" y="1049429"/>
                      </a:cubicBezTo>
                      <a:cubicBezTo>
                        <a:pt x="315277" y="1039995"/>
                        <a:pt x="309562" y="1020400"/>
                        <a:pt x="318135" y="1004435"/>
                      </a:cubicBezTo>
                      <a:cubicBezTo>
                        <a:pt x="322421" y="996452"/>
                        <a:pt x="329386" y="991009"/>
                        <a:pt x="337155" y="988741"/>
                      </a:cubicBezTo>
                      <a:close/>
                      <a:moveTo>
                        <a:pt x="171767" y="809079"/>
                      </a:moveTo>
                      <a:cubicBezTo>
                        <a:pt x="179841" y="811133"/>
                        <a:pt x="187098" y="816134"/>
                        <a:pt x="191452" y="823278"/>
                      </a:cubicBezTo>
                      <a:cubicBezTo>
                        <a:pt x="201612" y="838994"/>
                        <a:pt x="195807" y="857568"/>
                        <a:pt x="179841" y="866141"/>
                      </a:cubicBezTo>
                      <a:cubicBezTo>
                        <a:pt x="163875" y="874713"/>
                        <a:pt x="144281" y="869712"/>
                        <a:pt x="134121" y="854710"/>
                      </a:cubicBezTo>
                      <a:cubicBezTo>
                        <a:pt x="125412" y="839709"/>
                        <a:pt x="130492" y="820420"/>
                        <a:pt x="147184" y="812562"/>
                      </a:cubicBezTo>
                      <a:cubicBezTo>
                        <a:pt x="154804" y="807919"/>
                        <a:pt x="163694" y="807026"/>
                        <a:pt x="171767" y="809079"/>
                      </a:cubicBezTo>
                      <a:close/>
                      <a:moveTo>
                        <a:pt x="1014005" y="808722"/>
                      </a:moveTo>
                      <a:cubicBezTo>
                        <a:pt x="1022169" y="806668"/>
                        <a:pt x="1031059" y="807561"/>
                        <a:pt x="1038679" y="811848"/>
                      </a:cubicBezTo>
                      <a:cubicBezTo>
                        <a:pt x="1055370" y="820420"/>
                        <a:pt x="1060450" y="839709"/>
                        <a:pt x="1051016" y="854710"/>
                      </a:cubicBezTo>
                      <a:cubicBezTo>
                        <a:pt x="1041582" y="868998"/>
                        <a:pt x="1021987" y="874713"/>
                        <a:pt x="1006022" y="865426"/>
                      </a:cubicBezTo>
                      <a:cubicBezTo>
                        <a:pt x="990056" y="857568"/>
                        <a:pt x="984250" y="838280"/>
                        <a:pt x="993685" y="823278"/>
                      </a:cubicBezTo>
                      <a:cubicBezTo>
                        <a:pt x="998402" y="815777"/>
                        <a:pt x="1005840" y="810776"/>
                        <a:pt x="1014005" y="808722"/>
                      </a:cubicBezTo>
                      <a:close/>
                      <a:moveTo>
                        <a:pt x="1089605" y="558800"/>
                      </a:moveTo>
                      <a:cubicBezTo>
                        <a:pt x="1071644" y="558800"/>
                        <a:pt x="1057275" y="572987"/>
                        <a:pt x="1057275" y="590719"/>
                      </a:cubicBezTo>
                      <a:cubicBezTo>
                        <a:pt x="1057275" y="591429"/>
                        <a:pt x="1057275" y="591429"/>
                        <a:pt x="1057275" y="592138"/>
                      </a:cubicBezTo>
                      <a:cubicBezTo>
                        <a:pt x="1057275" y="592138"/>
                        <a:pt x="1057275" y="592138"/>
                        <a:pt x="1124808" y="592138"/>
                      </a:cubicBezTo>
                      <a:cubicBezTo>
                        <a:pt x="1124808" y="592138"/>
                        <a:pt x="1124808" y="592138"/>
                        <a:pt x="1140613" y="592138"/>
                      </a:cubicBezTo>
                      <a:cubicBezTo>
                        <a:pt x="1140613" y="592138"/>
                        <a:pt x="1140613" y="592138"/>
                        <a:pt x="1155700" y="592138"/>
                      </a:cubicBezTo>
                      <a:cubicBezTo>
                        <a:pt x="1155700" y="587173"/>
                        <a:pt x="1155700" y="582917"/>
                        <a:pt x="1155700" y="577952"/>
                      </a:cubicBezTo>
                      <a:cubicBezTo>
                        <a:pt x="1155700" y="577952"/>
                        <a:pt x="1155700" y="577952"/>
                        <a:pt x="1155700" y="577242"/>
                      </a:cubicBezTo>
                      <a:cubicBezTo>
                        <a:pt x="1154982" y="570859"/>
                        <a:pt x="1154982" y="565184"/>
                        <a:pt x="1154982" y="558800"/>
                      </a:cubicBezTo>
                      <a:cubicBezTo>
                        <a:pt x="1154982" y="558800"/>
                        <a:pt x="1154982" y="558800"/>
                        <a:pt x="1139895" y="558800"/>
                      </a:cubicBezTo>
                      <a:cubicBezTo>
                        <a:pt x="1139895" y="558800"/>
                        <a:pt x="1139895" y="558800"/>
                        <a:pt x="1123371" y="558800"/>
                      </a:cubicBezTo>
                      <a:cubicBezTo>
                        <a:pt x="1123371" y="558800"/>
                        <a:pt x="1123371" y="558800"/>
                        <a:pt x="1089605" y="558800"/>
                      </a:cubicBezTo>
                      <a:close/>
                      <a:moveTo>
                        <a:pt x="153781" y="313333"/>
                      </a:moveTo>
                      <a:cubicBezTo>
                        <a:pt x="161746" y="311368"/>
                        <a:pt x="170516" y="312261"/>
                        <a:pt x="178391" y="316548"/>
                      </a:cubicBezTo>
                      <a:cubicBezTo>
                        <a:pt x="193426" y="324406"/>
                        <a:pt x="198437" y="344409"/>
                        <a:pt x="189846" y="358696"/>
                      </a:cubicBezTo>
                      <a:cubicBezTo>
                        <a:pt x="181255" y="374412"/>
                        <a:pt x="161209" y="379413"/>
                        <a:pt x="146174" y="370841"/>
                      </a:cubicBezTo>
                      <a:cubicBezTo>
                        <a:pt x="130424" y="361554"/>
                        <a:pt x="125412" y="342980"/>
                        <a:pt x="134003" y="327263"/>
                      </a:cubicBezTo>
                      <a:cubicBezTo>
                        <a:pt x="138657" y="320120"/>
                        <a:pt x="145816" y="315298"/>
                        <a:pt x="153781" y="313333"/>
                      </a:cubicBezTo>
                      <a:close/>
                      <a:moveTo>
                        <a:pt x="1031746" y="312237"/>
                      </a:moveTo>
                      <a:cubicBezTo>
                        <a:pt x="1023687" y="310110"/>
                        <a:pt x="1014813" y="310997"/>
                        <a:pt x="1006845" y="315605"/>
                      </a:cubicBezTo>
                      <a:cubicBezTo>
                        <a:pt x="991632" y="324113"/>
                        <a:pt x="985837" y="343964"/>
                        <a:pt x="995254" y="358853"/>
                      </a:cubicBezTo>
                      <a:cubicBezTo>
                        <a:pt x="1003947" y="374450"/>
                        <a:pt x="1024230" y="379413"/>
                        <a:pt x="1039443" y="370196"/>
                      </a:cubicBezTo>
                      <a:cubicBezTo>
                        <a:pt x="1055379" y="361689"/>
                        <a:pt x="1060450" y="342546"/>
                        <a:pt x="1051757" y="326949"/>
                      </a:cubicBezTo>
                      <a:cubicBezTo>
                        <a:pt x="1047049" y="319504"/>
                        <a:pt x="1039805" y="314364"/>
                        <a:pt x="1031746" y="312237"/>
                      </a:cubicBezTo>
                      <a:close/>
                      <a:moveTo>
                        <a:pt x="832956" y="130962"/>
                      </a:moveTo>
                      <a:cubicBezTo>
                        <a:pt x="825068" y="133109"/>
                        <a:pt x="817978" y="138300"/>
                        <a:pt x="813370" y="146175"/>
                      </a:cubicBezTo>
                      <a:cubicBezTo>
                        <a:pt x="804862" y="161210"/>
                        <a:pt x="809825" y="180540"/>
                        <a:pt x="825423" y="189131"/>
                      </a:cubicBezTo>
                      <a:cubicBezTo>
                        <a:pt x="840311" y="198438"/>
                        <a:pt x="860163" y="192711"/>
                        <a:pt x="868671" y="177676"/>
                      </a:cubicBezTo>
                      <a:cubicBezTo>
                        <a:pt x="877887" y="162642"/>
                        <a:pt x="872215" y="143311"/>
                        <a:pt x="857327" y="134004"/>
                      </a:cubicBezTo>
                      <a:cubicBezTo>
                        <a:pt x="849528" y="129709"/>
                        <a:pt x="840843" y="128814"/>
                        <a:pt x="832956" y="130962"/>
                      </a:cubicBezTo>
                      <a:close/>
                      <a:moveTo>
                        <a:pt x="353765" y="130756"/>
                      </a:moveTo>
                      <a:cubicBezTo>
                        <a:pt x="360998" y="133019"/>
                        <a:pt x="367427" y="138090"/>
                        <a:pt x="371713" y="145696"/>
                      </a:cubicBezTo>
                      <a:cubicBezTo>
                        <a:pt x="381000" y="161633"/>
                        <a:pt x="375285" y="181916"/>
                        <a:pt x="360283" y="190609"/>
                      </a:cubicBezTo>
                      <a:cubicBezTo>
                        <a:pt x="345281" y="200026"/>
                        <a:pt x="325993" y="194231"/>
                        <a:pt x="317420" y="179019"/>
                      </a:cubicBezTo>
                      <a:cubicBezTo>
                        <a:pt x="309562" y="164531"/>
                        <a:pt x="313849" y="144972"/>
                        <a:pt x="325993" y="135555"/>
                      </a:cubicBezTo>
                      <a:cubicBezTo>
                        <a:pt x="327422" y="134830"/>
                        <a:pt x="328136" y="134106"/>
                        <a:pt x="328851" y="134106"/>
                      </a:cubicBezTo>
                      <a:cubicBezTo>
                        <a:pt x="329565" y="133382"/>
                        <a:pt x="330279" y="133382"/>
                        <a:pt x="330994" y="132657"/>
                      </a:cubicBezTo>
                      <a:cubicBezTo>
                        <a:pt x="338495" y="129035"/>
                        <a:pt x="346532" y="128492"/>
                        <a:pt x="353765" y="130756"/>
                      </a:cubicBezTo>
                      <a:close/>
                      <a:moveTo>
                        <a:pt x="560794" y="33338"/>
                      </a:moveTo>
                      <a:cubicBezTo>
                        <a:pt x="276585" y="49789"/>
                        <a:pt x="48216" y="276518"/>
                        <a:pt x="32466" y="559752"/>
                      </a:cubicBezTo>
                      <a:cubicBezTo>
                        <a:pt x="32466" y="559752"/>
                        <a:pt x="32466" y="559752"/>
                        <a:pt x="47500" y="559752"/>
                      </a:cubicBezTo>
                      <a:cubicBezTo>
                        <a:pt x="47500" y="559752"/>
                        <a:pt x="47500" y="559752"/>
                        <a:pt x="63249" y="559752"/>
                      </a:cubicBezTo>
                      <a:cubicBezTo>
                        <a:pt x="63249" y="559752"/>
                        <a:pt x="63249" y="559752"/>
                        <a:pt x="95465" y="559752"/>
                      </a:cubicBezTo>
                      <a:cubicBezTo>
                        <a:pt x="113362" y="559752"/>
                        <a:pt x="127680" y="574057"/>
                        <a:pt x="127680" y="591938"/>
                      </a:cubicBezTo>
                      <a:cubicBezTo>
                        <a:pt x="127680" y="609818"/>
                        <a:pt x="113362" y="624123"/>
                        <a:pt x="95465" y="624123"/>
                      </a:cubicBezTo>
                      <a:cubicBezTo>
                        <a:pt x="95465" y="624123"/>
                        <a:pt x="95465" y="624123"/>
                        <a:pt x="62534" y="624123"/>
                      </a:cubicBezTo>
                      <a:cubicBezTo>
                        <a:pt x="62534" y="624123"/>
                        <a:pt x="62534" y="624123"/>
                        <a:pt x="46784" y="624123"/>
                      </a:cubicBezTo>
                      <a:cubicBezTo>
                        <a:pt x="46784" y="624123"/>
                        <a:pt x="46784" y="624123"/>
                        <a:pt x="31750" y="624123"/>
                      </a:cubicBezTo>
                      <a:cubicBezTo>
                        <a:pt x="46784" y="908787"/>
                        <a:pt x="275869" y="1138378"/>
                        <a:pt x="560794" y="1154113"/>
                      </a:cubicBezTo>
                      <a:cubicBezTo>
                        <a:pt x="560794" y="1154113"/>
                        <a:pt x="560794" y="1154113"/>
                        <a:pt x="560794" y="1139093"/>
                      </a:cubicBezTo>
                      <a:cubicBezTo>
                        <a:pt x="560794" y="1139093"/>
                        <a:pt x="560794" y="1139093"/>
                        <a:pt x="560794" y="1123358"/>
                      </a:cubicBezTo>
                      <a:cubicBezTo>
                        <a:pt x="560794" y="1123358"/>
                        <a:pt x="560794" y="1123358"/>
                        <a:pt x="560794" y="1089027"/>
                      </a:cubicBezTo>
                      <a:cubicBezTo>
                        <a:pt x="560794" y="1071146"/>
                        <a:pt x="575112" y="1056841"/>
                        <a:pt x="593009" y="1056841"/>
                      </a:cubicBezTo>
                      <a:cubicBezTo>
                        <a:pt x="610907" y="1056841"/>
                        <a:pt x="625224" y="1071146"/>
                        <a:pt x="625224" y="1089027"/>
                      </a:cubicBezTo>
                      <a:cubicBezTo>
                        <a:pt x="625224" y="1089027"/>
                        <a:pt x="625224" y="1089027"/>
                        <a:pt x="625224" y="1123358"/>
                      </a:cubicBezTo>
                      <a:cubicBezTo>
                        <a:pt x="625224" y="1123358"/>
                        <a:pt x="625224" y="1123358"/>
                        <a:pt x="625224" y="1139093"/>
                      </a:cubicBezTo>
                      <a:cubicBezTo>
                        <a:pt x="625224" y="1139093"/>
                        <a:pt x="625224" y="1139093"/>
                        <a:pt x="625224" y="1154113"/>
                      </a:cubicBezTo>
                      <a:cubicBezTo>
                        <a:pt x="910865" y="1139093"/>
                        <a:pt x="1140666" y="909502"/>
                        <a:pt x="1155700" y="624123"/>
                      </a:cubicBezTo>
                      <a:cubicBezTo>
                        <a:pt x="1155700" y="624123"/>
                        <a:pt x="1155700" y="624123"/>
                        <a:pt x="1140666" y="624123"/>
                      </a:cubicBezTo>
                      <a:cubicBezTo>
                        <a:pt x="1140666" y="624123"/>
                        <a:pt x="1140666" y="624123"/>
                        <a:pt x="1124917" y="624123"/>
                      </a:cubicBezTo>
                      <a:cubicBezTo>
                        <a:pt x="1124917" y="624123"/>
                        <a:pt x="1124917" y="624123"/>
                        <a:pt x="1090554" y="624123"/>
                      </a:cubicBezTo>
                      <a:cubicBezTo>
                        <a:pt x="1073373" y="624123"/>
                        <a:pt x="1059055" y="610534"/>
                        <a:pt x="1058339" y="593368"/>
                      </a:cubicBezTo>
                      <a:cubicBezTo>
                        <a:pt x="1058339" y="593368"/>
                        <a:pt x="1058339" y="593368"/>
                        <a:pt x="677485" y="593368"/>
                      </a:cubicBezTo>
                      <a:cubicBezTo>
                        <a:pt x="677485" y="592653"/>
                        <a:pt x="677485" y="592653"/>
                        <a:pt x="677485" y="591938"/>
                      </a:cubicBezTo>
                      <a:cubicBezTo>
                        <a:pt x="677485" y="545447"/>
                        <a:pt x="639542" y="507540"/>
                        <a:pt x="593009" y="507540"/>
                      </a:cubicBezTo>
                      <a:cubicBezTo>
                        <a:pt x="593009" y="507540"/>
                        <a:pt x="593009" y="507540"/>
                        <a:pt x="593009" y="127749"/>
                      </a:cubicBezTo>
                      <a:cubicBezTo>
                        <a:pt x="575112" y="127749"/>
                        <a:pt x="560794" y="113445"/>
                        <a:pt x="560794" y="95564"/>
                      </a:cubicBezTo>
                      <a:cubicBezTo>
                        <a:pt x="560794" y="95564"/>
                        <a:pt x="560794" y="95564"/>
                        <a:pt x="560794" y="64809"/>
                      </a:cubicBezTo>
                      <a:cubicBezTo>
                        <a:pt x="560794" y="64809"/>
                        <a:pt x="560794" y="64809"/>
                        <a:pt x="560794" y="49073"/>
                      </a:cubicBezTo>
                      <a:cubicBezTo>
                        <a:pt x="560794" y="49073"/>
                        <a:pt x="560794" y="49073"/>
                        <a:pt x="560794" y="33338"/>
                      </a:cubicBezTo>
                      <a:close/>
                      <a:moveTo>
                        <a:pt x="593725" y="31750"/>
                      </a:moveTo>
                      <a:cubicBezTo>
                        <a:pt x="593725" y="31750"/>
                        <a:pt x="593725" y="31750"/>
                        <a:pt x="593725" y="47388"/>
                      </a:cubicBezTo>
                      <a:cubicBezTo>
                        <a:pt x="593725" y="47388"/>
                        <a:pt x="593725" y="47388"/>
                        <a:pt x="593725" y="63026"/>
                      </a:cubicBezTo>
                      <a:cubicBezTo>
                        <a:pt x="593725" y="63026"/>
                        <a:pt x="593725" y="63026"/>
                        <a:pt x="593725" y="127000"/>
                      </a:cubicBezTo>
                      <a:cubicBezTo>
                        <a:pt x="611364" y="127000"/>
                        <a:pt x="625475" y="112784"/>
                        <a:pt x="625475" y="95013"/>
                      </a:cubicBezTo>
                      <a:cubicBezTo>
                        <a:pt x="625475" y="95013"/>
                        <a:pt x="625475" y="95013"/>
                        <a:pt x="625475" y="64448"/>
                      </a:cubicBezTo>
                      <a:cubicBezTo>
                        <a:pt x="625475" y="64448"/>
                        <a:pt x="625475" y="64448"/>
                        <a:pt x="625475" y="48810"/>
                      </a:cubicBezTo>
                      <a:cubicBezTo>
                        <a:pt x="625475" y="48810"/>
                        <a:pt x="625475" y="48810"/>
                        <a:pt x="625475" y="33172"/>
                      </a:cubicBezTo>
                      <a:cubicBezTo>
                        <a:pt x="625475" y="33172"/>
                        <a:pt x="625475" y="33172"/>
                        <a:pt x="625475" y="32461"/>
                      </a:cubicBezTo>
                      <a:cubicBezTo>
                        <a:pt x="620536" y="32461"/>
                        <a:pt x="614892" y="32461"/>
                        <a:pt x="609953" y="32461"/>
                      </a:cubicBezTo>
                      <a:cubicBezTo>
                        <a:pt x="609247" y="32461"/>
                        <a:pt x="609247" y="32461"/>
                        <a:pt x="608542" y="32461"/>
                      </a:cubicBezTo>
                      <a:cubicBezTo>
                        <a:pt x="604309" y="31750"/>
                        <a:pt x="600075" y="31750"/>
                        <a:pt x="595842" y="31750"/>
                      </a:cubicBezTo>
                      <a:cubicBezTo>
                        <a:pt x="595842" y="31750"/>
                        <a:pt x="595136" y="31750"/>
                        <a:pt x="594431" y="31750"/>
                      </a:cubicBezTo>
                      <a:cubicBezTo>
                        <a:pt x="594431" y="31750"/>
                        <a:pt x="594431" y="31750"/>
                        <a:pt x="593725" y="31750"/>
                      </a:cubicBezTo>
                      <a:close/>
                      <a:moveTo>
                        <a:pt x="593010" y="0"/>
                      </a:moveTo>
                      <a:cubicBezTo>
                        <a:pt x="593010" y="0"/>
                        <a:pt x="593010" y="0"/>
                        <a:pt x="593725" y="0"/>
                      </a:cubicBezTo>
                      <a:cubicBezTo>
                        <a:pt x="599448" y="0"/>
                        <a:pt x="605171" y="0"/>
                        <a:pt x="610893" y="715"/>
                      </a:cubicBezTo>
                      <a:cubicBezTo>
                        <a:pt x="612324" y="715"/>
                        <a:pt x="614470" y="715"/>
                        <a:pt x="615900" y="715"/>
                      </a:cubicBezTo>
                      <a:cubicBezTo>
                        <a:pt x="618762" y="715"/>
                        <a:pt x="622338" y="715"/>
                        <a:pt x="625200" y="715"/>
                      </a:cubicBezTo>
                      <a:cubicBezTo>
                        <a:pt x="625915" y="715"/>
                        <a:pt x="627346" y="1431"/>
                        <a:pt x="628061" y="1431"/>
                      </a:cubicBezTo>
                      <a:cubicBezTo>
                        <a:pt x="630207" y="1431"/>
                        <a:pt x="631638" y="1431"/>
                        <a:pt x="633784" y="1431"/>
                      </a:cubicBezTo>
                      <a:cubicBezTo>
                        <a:pt x="637360" y="2146"/>
                        <a:pt x="641652" y="2146"/>
                        <a:pt x="645944" y="2146"/>
                      </a:cubicBezTo>
                      <a:cubicBezTo>
                        <a:pt x="647375" y="2861"/>
                        <a:pt x="648806" y="2861"/>
                        <a:pt x="650236" y="2861"/>
                      </a:cubicBezTo>
                      <a:cubicBezTo>
                        <a:pt x="655244" y="3576"/>
                        <a:pt x="660251" y="3576"/>
                        <a:pt x="665258" y="4292"/>
                      </a:cubicBezTo>
                      <a:cubicBezTo>
                        <a:pt x="665974" y="4292"/>
                        <a:pt x="666689" y="4292"/>
                        <a:pt x="666689" y="5007"/>
                      </a:cubicBezTo>
                      <a:cubicBezTo>
                        <a:pt x="679565" y="6437"/>
                        <a:pt x="692441" y="8583"/>
                        <a:pt x="705317" y="10729"/>
                      </a:cubicBezTo>
                      <a:cubicBezTo>
                        <a:pt x="709609" y="11444"/>
                        <a:pt x="714616" y="12159"/>
                        <a:pt x="718908" y="13590"/>
                      </a:cubicBezTo>
                      <a:cubicBezTo>
                        <a:pt x="719624" y="13590"/>
                        <a:pt x="719624" y="13590"/>
                        <a:pt x="719624" y="13590"/>
                      </a:cubicBezTo>
                      <a:cubicBezTo>
                        <a:pt x="725346" y="15020"/>
                        <a:pt x="731069" y="15735"/>
                        <a:pt x="736791" y="17166"/>
                      </a:cubicBezTo>
                      <a:cubicBezTo>
                        <a:pt x="743945" y="19312"/>
                        <a:pt x="750383" y="20742"/>
                        <a:pt x="757536" y="22888"/>
                      </a:cubicBezTo>
                      <a:cubicBezTo>
                        <a:pt x="764689" y="25033"/>
                        <a:pt x="771127" y="27179"/>
                        <a:pt x="778281" y="29325"/>
                      </a:cubicBezTo>
                      <a:cubicBezTo>
                        <a:pt x="782573" y="30755"/>
                        <a:pt x="786865" y="32186"/>
                        <a:pt x="791157" y="33616"/>
                      </a:cubicBezTo>
                      <a:cubicBezTo>
                        <a:pt x="800456" y="37192"/>
                        <a:pt x="809755" y="40769"/>
                        <a:pt x="818339" y="44345"/>
                      </a:cubicBezTo>
                      <a:cubicBezTo>
                        <a:pt x="818339" y="44345"/>
                        <a:pt x="818339" y="44345"/>
                        <a:pt x="819055" y="44345"/>
                      </a:cubicBezTo>
                      <a:cubicBezTo>
                        <a:pt x="824062" y="46491"/>
                        <a:pt x="828354" y="48636"/>
                        <a:pt x="833361" y="50782"/>
                      </a:cubicBezTo>
                      <a:cubicBezTo>
                        <a:pt x="841230" y="54358"/>
                        <a:pt x="849814" y="57934"/>
                        <a:pt x="857682" y="61511"/>
                      </a:cubicBezTo>
                      <a:cubicBezTo>
                        <a:pt x="857682" y="61511"/>
                        <a:pt x="857682" y="62226"/>
                        <a:pt x="858398" y="62226"/>
                      </a:cubicBezTo>
                      <a:cubicBezTo>
                        <a:pt x="870558" y="67948"/>
                        <a:pt x="882719" y="75100"/>
                        <a:pt x="894880" y="81537"/>
                      </a:cubicBezTo>
                      <a:cubicBezTo>
                        <a:pt x="894880" y="82252"/>
                        <a:pt x="895595" y="82252"/>
                        <a:pt x="895595" y="82252"/>
                      </a:cubicBezTo>
                      <a:cubicBezTo>
                        <a:pt x="904179" y="87259"/>
                        <a:pt x="912763" y="92981"/>
                        <a:pt x="921347" y="98703"/>
                      </a:cubicBezTo>
                      <a:cubicBezTo>
                        <a:pt x="922062" y="98703"/>
                        <a:pt x="922062" y="98703"/>
                        <a:pt x="922062" y="99418"/>
                      </a:cubicBezTo>
                      <a:cubicBezTo>
                        <a:pt x="924924" y="100849"/>
                        <a:pt x="927785" y="102994"/>
                        <a:pt x="930646" y="104425"/>
                      </a:cubicBezTo>
                      <a:cubicBezTo>
                        <a:pt x="930646" y="105140"/>
                        <a:pt x="931362" y="105140"/>
                        <a:pt x="932077" y="105855"/>
                      </a:cubicBezTo>
                      <a:cubicBezTo>
                        <a:pt x="939946" y="110862"/>
                        <a:pt x="947814" y="116584"/>
                        <a:pt x="955683" y="122306"/>
                      </a:cubicBezTo>
                      <a:cubicBezTo>
                        <a:pt x="955683" y="123021"/>
                        <a:pt x="956398" y="123736"/>
                        <a:pt x="957114" y="123736"/>
                      </a:cubicBezTo>
                      <a:cubicBezTo>
                        <a:pt x="959260" y="125882"/>
                        <a:pt x="962121" y="128028"/>
                        <a:pt x="964267" y="129458"/>
                      </a:cubicBezTo>
                      <a:cubicBezTo>
                        <a:pt x="964982" y="130173"/>
                        <a:pt x="965698" y="130889"/>
                        <a:pt x="966413" y="130889"/>
                      </a:cubicBezTo>
                      <a:cubicBezTo>
                        <a:pt x="973566" y="137326"/>
                        <a:pt x="980719" y="143048"/>
                        <a:pt x="987157" y="148769"/>
                      </a:cubicBezTo>
                      <a:cubicBezTo>
                        <a:pt x="988588" y="150200"/>
                        <a:pt x="989303" y="150915"/>
                        <a:pt x="990019" y="151630"/>
                      </a:cubicBezTo>
                      <a:cubicBezTo>
                        <a:pt x="992165" y="153061"/>
                        <a:pt x="994311" y="155207"/>
                        <a:pt x="996457" y="156637"/>
                      </a:cubicBezTo>
                      <a:cubicBezTo>
                        <a:pt x="997172" y="158068"/>
                        <a:pt x="997887" y="158783"/>
                        <a:pt x="998603" y="159498"/>
                      </a:cubicBezTo>
                      <a:cubicBezTo>
                        <a:pt x="1002895" y="163074"/>
                        <a:pt x="1007187" y="166650"/>
                        <a:pt x="1011479" y="170227"/>
                      </a:cubicBezTo>
                      <a:cubicBezTo>
                        <a:pt x="1011479" y="170942"/>
                        <a:pt x="1012194" y="170942"/>
                        <a:pt x="1012194" y="171657"/>
                      </a:cubicBezTo>
                      <a:cubicBezTo>
                        <a:pt x="1014340" y="173087"/>
                        <a:pt x="1015771" y="175233"/>
                        <a:pt x="1017917" y="177379"/>
                      </a:cubicBezTo>
                      <a:cubicBezTo>
                        <a:pt x="1018632" y="178094"/>
                        <a:pt x="1020063" y="179525"/>
                        <a:pt x="1020778" y="180240"/>
                      </a:cubicBezTo>
                      <a:cubicBezTo>
                        <a:pt x="1022924" y="182386"/>
                        <a:pt x="1024355" y="183816"/>
                        <a:pt x="1026501" y="185962"/>
                      </a:cubicBezTo>
                      <a:cubicBezTo>
                        <a:pt x="1027216" y="186677"/>
                        <a:pt x="1027931" y="188107"/>
                        <a:pt x="1029362" y="188823"/>
                      </a:cubicBezTo>
                      <a:cubicBezTo>
                        <a:pt x="1032223" y="192399"/>
                        <a:pt x="1035085" y="195975"/>
                        <a:pt x="1038661" y="198836"/>
                      </a:cubicBezTo>
                      <a:cubicBezTo>
                        <a:pt x="1039377" y="200267"/>
                        <a:pt x="1040807" y="201697"/>
                        <a:pt x="1041523" y="202412"/>
                      </a:cubicBezTo>
                      <a:cubicBezTo>
                        <a:pt x="1042953" y="204558"/>
                        <a:pt x="1044384" y="205988"/>
                        <a:pt x="1046530" y="208134"/>
                      </a:cubicBezTo>
                      <a:cubicBezTo>
                        <a:pt x="1047245" y="209565"/>
                        <a:pt x="1048676" y="210995"/>
                        <a:pt x="1049391" y="212426"/>
                      </a:cubicBezTo>
                      <a:cubicBezTo>
                        <a:pt x="1050822" y="213856"/>
                        <a:pt x="1052253" y="216002"/>
                        <a:pt x="1054399" y="217432"/>
                      </a:cubicBezTo>
                      <a:cubicBezTo>
                        <a:pt x="1055114" y="218863"/>
                        <a:pt x="1056545" y="220293"/>
                        <a:pt x="1057975" y="222439"/>
                      </a:cubicBezTo>
                      <a:cubicBezTo>
                        <a:pt x="1060121" y="225300"/>
                        <a:pt x="1062267" y="228161"/>
                        <a:pt x="1064413" y="231022"/>
                      </a:cubicBezTo>
                      <a:cubicBezTo>
                        <a:pt x="1065844" y="232452"/>
                        <a:pt x="1067275" y="233883"/>
                        <a:pt x="1068705" y="236028"/>
                      </a:cubicBezTo>
                      <a:cubicBezTo>
                        <a:pt x="1070136" y="237459"/>
                        <a:pt x="1070851" y="239605"/>
                        <a:pt x="1072282" y="241035"/>
                      </a:cubicBezTo>
                      <a:cubicBezTo>
                        <a:pt x="1073713" y="242465"/>
                        <a:pt x="1075143" y="244611"/>
                        <a:pt x="1075859" y="246042"/>
                      </a:cubicBezTo>
                      <a:cubicBezTo>
                        <a:pt x="1077289" y="247472"/>
                        <a:pt x="1078720" y="249618"/>
                        <a:pt x="1079435" y="251048"/>
                      </a:cubicBezTo>
                      <a:cubicBezTo>
                        <a:pt x="1081581" y="253194"/>
                        <a:pt x="1083012" y="256055"/>
                        <a:pt x="1084442" y="258201"/>
                      </a:cubicBezTo>
                      <a:cubicBezTo>
                        <a:pt x="1085873" y="260346"/>
                        <a:pt x="1087304" y="262492"/>
                        <a:pt x="1089450" y="264638"/>
                      </a:cubicBezTo>
                      <a:cubicBezTo>
                        <a:pt x="1090165" y="266784"/>
                        <a:pt x="1091596" y="268929"/>
                        <a:pt x="1093026" y="271075"/>
                      </a:cubicBezTo>
                      <a:cubicBezTo>
                        <a:pt x="1094457" y="272505"/>
                        <a:pt x="1095172" y="273936"/>
                        <a:pt x="1096603" y="276082"/>
                      </a:cubicBezTo>
                      <a:cubicBezTo>
                        <a:pt x="1097318" y="278227"/>
                        <a:pt x="1098749" y="279658"/>
                        <a:pt x="1100180" y="281804"/>
                      </a:cubicBezTo>
                      <a:cubicBezTo>
                        <a:pt x="1100895" y="283234"/>
                        <a:pt x="1102326" y="285380"/>
                        <a:pt x="1103041" y="286810"/>
                      </a:cubicBezTo>
                      <a:cubicBezTo>
                        <a:pt x="1105187" y="289671"/>
                        <a:pt x="1106618" y="293247"/>
                        <a:pt x="1108764" y="296824"/>
                      </a:cubicBezTo>
                      <a:cubicBezTo>
                        <a:pt x="1109479" y="298254"/>
                        <a:pt x="1110194" y="299684"/>
                        <a:pt x="1111625" y="301115"/>
                      </a:cubicBezTo>
                      <a:cubicBezTo>
                        <a:pt x="1112340" y="303261"/>
                        <a:pt x="1113771" y="305406"/>
                        <a:pt x="1115202" y="307552"/>
                      </a:cubicBezTo>
                      <a:cubicBezTo>
                        <a:pt x="1115917" y="309698"/>
                        <a:pt x="1116632" y="311128"/>
                        <a:pt x="1118063" y="312559"/>
                      </a:cubicBezTo>
                      <a:cubicBezTo>
                        <a:pt x="1118778" y="314704"/>
                        <a:pt x="1120209" y="317565"/>
                        <a:pt x="1121640" y="319711"/>
                      </a:cubicBezTo>
                      <a:cubicBezTo>
                        <a:pt x="1122355" y="321142"/>
                        <a:pt x="1123070" y="322572"/>
                        <a:pt x="1123786" y="324003"/>
                      </a:cubicBezTo>
                      <a:cubicBezTo>
                        <a:pt x="1125216" y="327579"/>
                        <a:pt x="1127362" y="331155"/>
                        <a:pt x="1128793" y="334731"/>
                      </a:cubicBezTo>
                      <a:cubicBezTo>
                        <a:pt x="1129508" y="336162"/>
                        <a:pt x="1130224" y="337592"/>
                        <a:pt x="1130939" y="339022"/>
                      </a:cubicBezTo>
                      <a:cubicBezTo>
                        <a:pt x="1132370" y="341168"/>
                        <a:pt x="1133085" y="344029"/>
                        <a:pt x="1134516" y="346175"/>
                      </a:cubicBezTo>
                      <a:cubicBezTo>
                        <a:pt x="1135231" y="347605"/>
                        <a:pt x="1135946" y="349751"/>
                        <a:pt x="1136662" y="351182"/>
                      </a:cubicBezTo>
                      <a:cubicBezTo>
                        <a:pt x="1138092" y="354042"/>
                        <a:pt x="1138808" y="356188"/>
                        <a:pt x="1140238" y="359049"/>
                      </a:cubicBezTo>
                      <a:cubicBezTo>
                        <a:pt x="1140954" y="360480"/>
                        <a:pt x="1140954" y="361910"/>
                        <a:pt x="1141669" y="362625"/>
                      </a:cubicBezTo>
                      <a:cubicBezTo>
                        <a:pt x="1143100" y="366917"/>
                        <a:pt x="1145246" y="370493"/>
                        <a:pt x="1145961" y="374069"/>
                      </a:cubicBezTo>
                      <a:cubicBezTo>
                        <a:pt x="1145961" y="375500"/>
                        <a:pt x="1146676" y="376930"/>
                        <a:pt x="1147392" y="378361"/>
                      </a:cubicBezTo>
                      <a:cubicBezTo>
                        <a:pt x="1148107" y="381221"/>
                        <a:pt x="1149538" y="383367"/>
                        <a:pt x="1150253" y="386228"/>
                      </a:cubicBezTo>
                      <a:cubicBezTo>
                        <a:pt x="1150968" y="387659"/>
                        <a:pt x="1151684" y="389804"/>
                        <a:pt x="1152399" y="391235"/>
                      </a:cubicBezTo>
                      <a:cubicBezTo>
                        <a:pt x="1153114" y="394096"/>
                        <a:pt x="1154545" y="396957"/>
                        <a:pt x="1155260" y="399818"/>
                      </a:cubicBezTo>
                      <a:cubicBezTo>
                        <a:pt x="1155976" y="401248"/>
                        <a:pt x="1155976" y="401963"/>
                        <a:pt x="1156691" y="403394"/>
                      </a:cubicBezTo>
                      <a:cubicBezTo>
                        <a:pt x="1157406" y="406970"/>
                        <a:pt x="1158837" y="411261"/>
                        <a:pt x="1160268" y="414838"/>
                      </a:cubicBezTo>
                      <a:cubicBezTo>
                        <a:pt x="1160983" y="416268"/>
                        <a:pt x="1160983" y="417699"/>
                        <a:pt x="1161698" y="419129"/>
                      </a:cubicBezTo>
                      <a:cubicBezTo>
                        <a:pt x="1162414" y="421990"/>
                        <a:pt x="1163129" y="424851"/>
                        <a:pt x="1163844" y="427712"/>
                      </a:cubicBezTo>
                      <a:cubicBezTo>
                        <a:pt x="1164560" y="429142"/>
                        <a:pt x="1165275" y="430573"/>
                        <a:pt x="1165275" y="432719"/>
                      </a:cubicBezTo>
                      <a:cubicBezTo>
                        <a:pt x="1166706" y="435579"/>
                        <a:pt x="1167421" y="439156"/>
                        <a:pt x="1168136" y="442732"/>
                      </a:cubicBezTo>
                      <a:cubicBezTo>
                        <a:pt x="1168136" y="443447"/>
                        <a:pt x="1168852" y="444878"/>
                        <a:pt x="1168852" y="445593"/>
                      </a:cubicBezTo>
                      <a:cubicBezTo>
                        <a:pt x="1170282" y="449169"/>
                        <a:pt x="1170998" y="453460"/>
                        <a:pt x="1171713" y="457037"/>
                      </a:cubicBezTo>
                      <a:cubicBezTo>
                        <a:pt x="1172428" y="458467"/>
                        <a:pt x="1172428" y="460613"/>
                        <a:pt x="1173144" y="462043"/>
                      </a:cubicBezTo>
                      <a:cubicBezTo>
                        <a:pt x="1173144" y="464904"/>
                        <a:pt x="1173859" y="467765"/>
                        <a:pt x="1174574" y="470626"/>
                      </a:cubicBezTo>
                      <a:cubicBezTo>
                        <a:pt x="1175290" y="472057"/>
                        <a:pt x="1175290" y="473487"/>
                        <a:pt x="1176005" y="474918"/>
                      </a:cubicBezTo>
                      <a:cubicBezTo>
                        <a:pt x="1176720" y="479209"/>
                        <a:pt x="1177436" y="483500"/>
                        <a:pt x="1178151" y="487792"/>
                      </a:cubicBezTo>
                      <a:cubicBezTo>
                        <a:pt x="1178151" y="489222"/>
                        <a:pt x="1178866" y="490653"/>
                        <a:pt x="1178866" y="491368"/>
                      </a:cubicBezTo>
                      <a:cubicBezTo>
                        <a:pt x="1179582" y="494944"/>
                        <a:pt x="1179582" y="498520"/>
                        <a:pt x="1180297" y="501381"/>
                      </a:cubicBezTo>
                      <a:cubicBezTo>
                        <a:pt x="1181012" y="503527"/>
                        <a:pt x="1181012" y="504957"/>
                        <a:pt x="1181012" y="507103"/>
                      </a:cubicBezTo>
                      <a:cubicBezTo>
                        <a:pt x="1181728" y="509964"/>
                        <a:pt x="1181728" y="512825"/>
                        <a:pt x="1182443" y="515686"/>
                      </a:cubicBezTo>
                      <a:cubicBezTo>
                        <a:pt x="1182443" y="517117"/>
                        <a:pt x="1183158" y="519262"/>
                        <a:pt x="1183158" y="521408"/>
                      </a:cubicBezTo>
                      <a:cubicBezTo>
                        <a:pt x="1183158" y="524269"/>
                        <a:pt x="1183874" y="527130"/>
                        <a:pt x="1183874" y="529276"/>
                      </a:cubicBezTo>
                      <a:cubicBezTo>
                        <a:pt x="1184589" y="531421"/>
                        <a:pt x="1184589" y="533567"/>
                        <a:pt x="1184589" y="535713"/>
                      </a:cubicBezTo>
                      <a:cubicBezTo>
                        <a:pt x="1184589" y="538574"/>
                        <a:pt x="1185304" y="541435"/>
                        <a:pt x="1185304" y="543580"/>
                      </a:cubicBezTo>
                      <a:cubicBezTo>
                        <a:pt x="1185304" y="545726"/>
                        <a:pt x="1186020" y="547872"/>
                        <a:pt x="1186020" y="550017"/>
                      </a:cubicBezTo>
                      <a:cubicBezTo>
                        <a:pt x="1186020" y="552878"/>
                        <a:pt x="1186020" y="555739"/>
                        <a:pt x="1186735" y="558600"/>
                      </a:cubicBezTo>
                      <a:cubicBezTo>
                        <a:pt x="1186735" y="558600"/>
                        <a:pt x="1186735" y="558600"/>
                        <a:pt x="1186735" y="559316"/>
                      </a:cubicBezTo>
                      <a:cubicBezTo>
                        <a:pt x="1186735" y="560746"/>
                        <a:pt x="1186735" y="562892"/>
                        <a:pt x="1186735" y="564322"/>
                      </a:cubicBezTo>
                      <a:cubicBezTo>
                        <a:pt x="1186735" y="567183"/>
                        <a:pt x="1186735" y="570759"/>
                        <a:pt x="1187450" y="573620"/>
                      </a:cubicBezTo>
                      <a:cubicBezTo>
                        <a:pt x="1187450" y="575051"/>
                        <a:pt x="1187450" y="577196"/>
                        <a:pt x="1187450" y="578627"/>
                      </a:cubicBezTo>
                      <a:cubicBezTo>
                        <a:pt x="1187450" y="583634"/>
                        <a:pt x="1187450" y="587925"/>
                        <a:pt x="1187450" y="592932"/>
                      </a:cubicBezTo>
                      <a:cubicBezTo>
                        <a:pt x="1187450" y="602945"/>
                        <a:pt x="1187450" y="613674"/>
                        <a:pt x="1186735" y="623687"/>
                      </a:cubicBezTo>
                      <a:cubicBezTo>
                        <a:pt x="1170998" y="926947"/>
                        <a:pt x="928500" y="1169413"/>
                        <a:pt x="625200" y="1185148"/>
                      </a:cubicBezTo>
                      <a:cubicBezTo>
                        <a:pt x="614470" y="1185863"/>
                        <a:pt x="604455" y="1185863"/>
                        <a:pt x="593725" y="1185863"/>
                      </a:cubicBezTo>
                      <a:cubicBezTo>
                        <a:pt x="582995" y="1185863"/>
                        <a:pt x="571550" y="1185863"/>
                        <a:pt x="560820" y="1185148"/>
                      </a:cubicBezTo>
                      <a:cubicBezTo>
                        <a:pt x="546513" y="1184433"/>
                        <a:pt x="532207" y="1183002"/>
                        <a:pt x="517900" y="1180857"/>
                      </a:cubicBezTo>
                      <a:cubicBezTo>
                        <a:pt x="507885" y="1180141"/>
                        <a:pt x="498586" y="1177996"/>
                        <a:pt x="488572" y="1176565"/>
                      </a:cubicBezTo>
                      <a:cubicBezTo>
                        <a:pt x="478557" y="1175135"/>
                        <a:pt x="469258" y="1172989"/>
                        <a:pt x="459243" y="1170843"/>
                      </a:cubicBezTo>
                      <a:cubicBezTo>
                        <a:pt x="449944" y="1168697"/>
                        <a:pt x="440644" y="1165837"/>
                        <a:pt x="431345" y="1163691"/>
                      </a:cubicBezTo>
                      <a:cubicBezTo>
                        <a:pt x="426338" y="1162260"/>
                        <a:pt x="421330" y="1160830"/>
                        <a:pt x="417038" y="1159399"/>
                      </a:cubicBezTo>
                      <a:cubicBezTo>
                        <a:pt x="402732" y="1155108"/>
                        <a:pt x="389140" y="1150101"/>
                        <a:pt x="375549" y="1145095"/>
                      </a:cubicBezTo>
                      <a:cubicBezTo>
                        <a:pt x="366965" y="1141518"/>
                        <a:pt x="357666" y="1137942"/>
                        <a:pt x="349082" y="1134366"/>
                      </a:cubicBezTo>
                      <a:cubicBezTo>
                        <a:pt x="326907" y="1124353"/>
                        <a:pt x="306162" y="1112909"/>
                        <a:pt x="285417" y="1100750"/>
                      </a:cubicBezTo>
                      <a:cubicBezTo>
                        <a:pt x="268965" y="1090737"/>
                        <a:pt x="253228" y="1080008"/>
                        <a:pt x="238206" y="1068564"/>
                      </a:cubicBezTo>
                      <a:cubicBezTo>
                        <a:pt x="211738" y="1048538"/>
                        <a:pt x="186702" y="1026365"/>
                        <a:pt x="163811" y="1002762"/>
                      </a:cubicBezTo>
                      <a:cubicBezTo>
                        <a:pt x="150220" y="988458"/>
                        <a:pt x="138059" y="974153"/>
                        <a:pt x="125899" y="959133"/>
                      </a:cubicBezTo>
                      <a:cubicBezTo>
                        <a:pt x="117315" y="948404"/>
                        <a:pt x="108731" y="936961"/>
                        <a:pt x="100862" y="924802"/>
                      </a:cubicBezTo>
                      <a:cubicBezTo>
                        <a:pt x="98001" y="921225"/>
                        <a:pt x="95855" y="916934"/>
                        <a:pt x="92993" y="912643"/>
                      </a:cubicBezTo>
                      <a:cubicBezTo>
                        <a:pt x="87986" y="904775"/>
                        <a:pt x="82979" y="896907"/>
                        <a:pt x="77971" y="888325"/>
                      </a:cubicBezTo>
                      <a:cubicBezTo>
                        <a:pt x="66526" y="867583"/>
                        <a:pt x="55796" y="846126"/>
                        <a:pt x="45781" y="823953"/>
                      </a:cubicBezTo>
                      <a:cubicBezTo>
                        <a:pt x="42205" y="815370"/>
                        <a:pt x="39343" y="806072"/>
                        <a:pt x="36482" y="796774"/>
                      </a:cubicBezTo>
                      <a:cubicBezTo>
                        <a:pt x="16453" y="742416"/>
                        <a:pt x="4292" y="684482"/>
                        <a:pt x="716" y="623687"/>
                      </a:cubicBezTo>
                      <a:cubicBezTo>
                        <a:pt x="716" y="613674"/>
                        <a:pt x="0" y="602945"/>
                        <a:pt x="0" y="592932"/>
                      </a:cubicBezTo>
                      <a:cubicBezTo>
                        <a:pt x="0" y="581488"/>
                        <a:pt x="716" y="570759"/>
                        <a:pt x="716" y="559316"/>
                      </a:cubicBezTo>
                      <a:cubicBezTo>
                        <a:pt x="4292" y="499951"/>
                        <a:pt x="16453" y="442732"/>
                        <a:pt x="36482" y="389089"/>
                      </a:cubicBezTo>
                      <a:cubicBezTo>
                        <a:pt x="39343" y="379791"/>
                        <a:pt x="42205" y="371208"/>
                        <a:pt x="45781" y="361910"/>
                      </a:cubicBezTo>
                      <a:cubicBezTo>
                        <a:pt x="55796" y="339738"/>
                        <a:pt x="66526" y="318281"/>
                        <a:pt x="77971" y="297539"/>
                      </a:cubicBezTo>
                      <a:cubicBezTo>
                        <a:pt x="82979" y="288956"/>
                        <a:pt x="87986" y="281088"/>
                        <a:pt x="92993" y="273221"/>
                      </a:cubicBezTo>
                      <a:cubicBezTo>
                        <a:pt x="95855" y="268929"/>
                        <a:pt x="98001" y="265353"/>
                        <a:pt x="100862" y="261062"/>
                      </a:cubicBezTo>
                      <a:cubicBezTo>
                        <a:pt x="108731" y="249618"/>
                        <a:pt x="117315" y="237459"/>
                        <a:pt x="125899" y="226730"/>
                      </a:cubicBezTo>
                      <a:cubicBezTo>
                        <a:pt x="138059" y="211710"/>
                        <a:pt x="150220" y="197406"/>
                        <a:pt x="163811" y="183816"/>
                      </a:cubicBezTo>
                      <a:cubicBezTo>
                        <a:pt x="186702" y="160213"/>
                        <a:pt x="211738" y="138041"/>
                        <a:pt x="238206" y="118014"/>
                      </a:cubicBezTo>
                      <a:cubicBezTo>
                        <a:pt x="253228" y="106570"/>
                        <a:pt x="268965" y="95842"/>
                        <a:pt x="285417" y="85829"/>
                      </a:cubicBezTo>
                      <a:cubicBezTo>
                        <a:pt x="306162" y="73670"/>
                        <a:pt x="326907" y="62226"/>
                        <a:pt x="349082" y="52928"/>
                      </a:cubicBezTo>
                      <a:cubicBezTo>
                        <a:pt x="357666" y="48636"/>
                        <a:pt x="366965" y="45060"/>
                        <a:pt x="375549" y="41484"/>
                      </a:cubicBezTo>
                      <a:cubicBezTo>
                        <a:pt x="389140" y="35762"/>
                        <a:pt x="402732" y="31471"/>
                        <a:pt x="417038" y="27179"/>
                      </a:cubicBezTo>
                      <a:cubicBezTo>
                        <a:pt x="421330" y="25749"/>
                        <a:pt x="426338" y="24318"/>
                        <a:pt x="431345" y="22888"/>
                      </a:cubicBezTo>
                      <a:cubicBezTo>
                        <a:pt x="440644" y="20027"/>
                        <a:pt x="449944" y="17881"/>
                        <a:pt x="459243" y="15735"/>
                      </a:cubicBezTo>
                      <a:cubicBezTo>
                        <a:pt x="469258" y="12874"/>
                        <a:pt x="478557" y="11444"/>
                        <a:pt x="488572" y="9298"/>
                      </a:cubicBezTo>
                      <a:cubicBezTo>
                        <a:pt x="498586" y="7868"/>
                        <a:pt x="507885" y="6437"/>
                        <a:pt x="517900" y="5007"/>
                      </a:cubicBezTo>
                      <a:cubicBezTo>
                        <a:pt x="532207" y="2861"/>
                        <a:pt x="546513" y="2146"/>
                        <a:pt x="560820" y="1431"/>
                      </a:cubicBezTo>
                      <a:cubicBezTo>
                        <a:pt x="571550" y="715"/>
                        <a:pt x="582280" y="0"/>
                        <a:pt x="59301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59" name="NavigationTriangle">
            <a:extLst>
              <a:ext uri="{FF2B5EF4-FFF2-40B4-BE49-F238E27FC236}">
                <a16:creationId xmlns:a16="http://schemas.microsoft.com/office/drawing/2014/main" id="{3C045A2B-AF5C-4EA1-92E1-6CE1770C6454}"/>
              </a:ext>
            </a:extLst>
          </p:cNvPr>
          <p:cNvSpPr/>
          <p:nvPr/>
        </p:nvSpPr>
        <p:spPr>
          <a:xfrm rot="16200000">
            <a:off x="8080517" y="-37923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FCF3D66-E39E-4F68-8B75-94CF0C1DC3D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98692" y="53517"/>
            <a:ext cx="455613" cy="457200"/>
            <a:chOff x="5120" y="1668"/>
            <a:chExt cx="287" cy="288"/>
          </a:xfrm>
        </p:grpSpPr>
        <p:sp>
          <p:nvSpPr>
            <p:cNvPr id="61" name="AutoShape 49">
              <a:extLst>
                <a:ext uri="{FF2B5EF4-FFF2-40B4-BE49-F238E27FC236}">
                  <a16:creationId xmlns:a16="http://schemas.microsoft.com/office/drawing/2014/main" id="{53030F7A-AFD4-4CFC-8B3A-94BB0AF4781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0" y="1668"/>
              <a:ext cx="28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1">
              <a:extLst>
                <a:ext uri="{FF2B5EF4-FFF2-40B4-BE49-F238E27FC236}">
                  <a16:creationId xmlns:a16="http://schemas.microsoft.com/office/drawing/2014/main" id="{27D8417B-B2A4-4555-A498-88C259751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6" y="1720"/>
              <a:ext cx="255" cy="184"/>
            </a:xfrm>
            <a:custGeom>
              <a:avLst/>
              <a:gdLst>
                <a:gd name="T0" fmla="*/ 816 w 903"/>
                <a:gd name="T1" fmla="*/ 525 h 649"/>
                <a:gd name="T2" fmla="*/ 839 w 903"/>
                <a:gd name="T3" fmla="*/ 22 h 649"/>
                <a:gd name="T4" fmla="*/ 86 w 903"/>
                <a:gd name="T5" fmla="*/ 0 h 649"/>
                <a:gd name="T6" fmla="*/ 64 w 903"/>
                <a:gd name="T7" fmla="*/ 502 h 649"/>
                <a:gd name="T8" fmla="*/ 116 w 903"/>
                <a:gd name="T9" fmla="*/ 70 h 649"/>
                <a:gd name="T10" fmla="*/ 776 w 903"/>
                <a:gd name="T11" fmla="*/ 59 h 649"/>
                <a:gd name="T12" fmla="*/ 787 w 903"/>
                <a:gd name="T13" fmla="*/ 455 h 649"/>
                <a:gd name="T14" fmla="*/ 127 w 903"/>
                <a:gd name="T15" fmla="*/ 465 h 649"/>
                <a:gd name="T16" fmla="*/ 116 w 903"/>
                <a:gd name="T17" fmla="*/ 70 h 649"/>
                <a:gd name="T18" fmla="*/ 879 w 903"/>
                <a:gd name="T19" fmla="*/ 550 h 649"/>
                <a:gd name="T20" fmla="*/ 549 w 903"/>
                <a:gd name="T21" fmla="*/ 565 h 649"/>
                <a:gd name="T22" fmla="*/ 332 w 903"/>
                <a:gd name="T23" fmla="*/ 550 h 649"/>
                <a:gd name="T24" fmla="*/ 6 w 903"/>
                <a:gd name="T25" fmla="*/ 559 h 649"/>
                <a:gd name="T26" fmla="*/ 18 w 903"/>
                <a:gd name="T27" fmla="*/ 632 h 649"/>
                <a:gd name="T28" fmla="*/ 863 w 903"/>
                <a:gd name="T29" fmla="*/ 649 h 649"/>
                <a:gd name="T30" fmla="*/ 901 w 903"/>
                <a:gd name="T31" fmla="*/ 580 h 649"/>
                <a:gd name="T32" fmla="*/ 538 w 903"/>
                <a:gd name="T33" fmla="*/ 205 h 649"/>
                <a:gd name="T34" fmla="*/ 499 w 903"/>
                <a:gd name="T35" fmla="*/ 381 h 649"/>
                <a:gd name="T36" fmla="*/ 511 w 903"/>
                <a:gd name="T37" fmla="*/ 408 h 649"/>
                <a:gd name="T38" fmla="*/ 638 w 903"/>
                <a:gd name="T39" fmla="*/ 286 h 649"/>
                <a:gd name="T40" fmla="*/ 644 w 903"/>
                <a:gd name="T41" fmla="*/ 274 h 649"/>
                <a:gd name="T42" fmla="*/ 638 w 903"/>
                <a:gd name="T43" fmla="*/ 261 h 649"/>
                <a:gd name="T44" fmla="*/ 549 w 903"/>
                <a:gd name="T45" fmla="*/ 178 h 649"/>
                <a:gd name="T46" fmla="*/ 538 w 903"/>
                <a:gd name="T47" fmla="*/ 205 h 649"/>
                <a:gd name="T48" fmla="*/ 264 w 903"/>
                <a:gd name="T49" fmla="*/ 286 h 649"/>
                <a:gd name="T50" fmla="*/ 343 w 903"/>
                <a:gd name="T51" fmla="*/ 366 h 649"/>
                <a:gd name="T52" fmla="*/ 365 w 903"/>
                <a:gd name="T53" fmla="*/ 365 h 649"/>
                <a:gd name="T54" fmla="*/ 365 w 903"/>
                <a:gd name="T55" fmla="*/ 343 h 649"/>
                <a:gd name="T56" fmla="*/ 403 w 903"/>
                <a:gd name="T57" fmla="*/ 167 h 649"/>
                <a:gd name="T58" fmla="*/ 403 w 903"/>
                <a:gd name="T59" fmla="*/ 144 h 649"/>
                <a:gd name="T60" fmla="*/ 264 w 903"/>
                <a:gd name="T61" fmla="*/ 262 h 649"/>
                <a:gd name="T62" fmla="*/ 263 w 903"/>
                <a:gd name="T63" fmla="*/ 263 h 649"/>
                <a:gd name="T64" fmla="*/ 263 w 903"/>
                <a:gd name="T65" fmla="*/ 285 h 649"/>
                <a:gd name="T66" fmla="*/ 375 w 903"/>
                <a:gd name="T67" fmla="*/ 418 h 649"/>
                <a:gd name="T68" fmla="*/ 382 w 903"/>
                <a:gd name="T69" fmla="*/ 419 h 649"/>
                <a:gd name="T70" fmla="*/ 543 w 903"/>
                <a:gd name="T71" fmla="*/ 128 h 649"/>
                <a:gd name="T72" fmla="*/ 536 w 903"/>
                <a:gd name="T73" fmla="*/ 107 h 649"/>
                <a:gd name="T74" fmla="*/ 368 w 903"/>
                <a:gd name="T75" fmla="*/ 39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649">
                  <a:moveTo>
                    <a:pt x="86" y="525"/>
                  </a:moveTo>
                  <a:cubicBezTo>
                    <a:pt x="816" y="525"/>
                    <a:pt x="816" y="525"/>
                    <a:pt x="816" y="525"/>
                  </a:cubicBezTo>
                  <a:cubicBezTo>
                    <a:pt x="829" y="525"/>
                    <a:pt x="839" y="515"/>
                    <a:pt x="839" y="502"/>
                  </a:cubicBezTo>
                  <a:cubicBezTo>
                    <a:pt x="839" y="22"/>
                    <a:pt x="839" y="22"/>
                    <a:pt x="839" y="22"/>
                  </a:cubicBezTo>
                  <a:cubicBezTo>
                    <a:pt x="839" y="10"/>
                    <a:pt x="829" y="0"/>
                    <a:pt x="81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64" y="10"/>
                    <a:pt x="64" y="22"/>
                  </a:cubicBezTo>
                  <a:cubicBezTo>
                    <a:pt x="64" y="502"/>
                    <a:pt x="64" y="502"/>
                    <a:pt x="64" y="502"/>
                  </a:cubicBezTo>
                  <a:cubicBezTo>
                    <a:pt x="64" y="515"/>
                    <a:pt x="74" y="525"/>
                    <a:pt x="86" y="525"/>
                  </a:cubicBezTo>
                  <a:close/>
                  <a:moveTo>
                    <a:pt x="116" y="70"/>
                  </a:moveTo>
                  <a:cubicBezTo>
                    <a:pt x="116" y="64"/>
                    <a:pt x="120" y="59"/>
                    <a:pt x="127" y="59"/>
                  </a:cubicBezTo>
                  <a:cubicBezTo>
                    <a:pt x="776" y="59"/>
                    <a:pt x="776" y="59"/>
                    <a:pt x="776" y="59"/>
                  </a:cubicBezTo>
                  <a:cubicBezTo>
                    <a:pt x="782" y="59"/>
                    <a:pt x="787" y="64"/>
                    <a:pt x="787" y="70"/>
                  </a:cubicBezTo>
                  <a:cubicBezTo>
                    <a:pt x="787" y="455"/>
                    <a:pt x="787" y="455"/>
                    <a:pt x="787" y="455"/>
                  </a:cubicBezTo>
                  <a:cubicBezTo>
                    <a:pt x="787" y="461"/>
                    <a:pt x="782" y="465"/>
                    <a:pt x="776" y="465"/>
                  </a:cubicBezTo>
                  <a:cubicBezTo>
                    <a:pt x="127" y="465"/>
                    <a:pt x="127" y="465"/>
                    <a:pt x="127" y="465"/>
                  </a:cubicBezTo>
                  <a:cubicBezTo>
                    <a:pt x="120" y="465"/>
                    <a:pt x="116" y="461"/>
                    <a:pt x="116" y="455"/>
                  </a:cubicBezTo>
                  <a:cubicBezTo>
                    <a:pt x="116" y="70"/>
                    <a:pt x="116" y="70"/>
                    <a:pt x="116" y="70"/>
                  </a:cubicBezTo>
                  <a:close/>
                  <a:moveTo>
                    <a:pt x="897" y="559"/>
                  </a:moveTo>
                  <a:cubicBezTo>
                    <a:pt x="893" y="554"/>
                    <a:pt x="887" y="550"/>
                    <a:pt x="879" y="550"/>
                  </a:cubicBezTo>
                  <a:cubicBezTo>
                    <a:pt x="879" y="550"/>
                    <a:pt x="879" y="550"/>
                    <a:pt x="571" y="550"/>
                  </a:cubicBezTo>
                  <a:cubicBezTo>
                    <a:pt x="562" y="550"/>
                    <a:pt x="552" y="557"/>
                    <a:pt x="549" y="565"/>
                  </a:cubicBezTo>
                  <a:cubicBezTo>
                    <a:pt x="549" y="565"/>
                    <a:pt x="549" y="565"/>
                    <a:pt x="353" y="565"/>
                  </a:cubicBezTo>
                  <a:cubicBezTo>
                    <a:pt x="350" y="557"/>
                    <a:pt x="341" y="550"/>
                    <a:pt x="332" y="550"/>
                  </a:cubicBezTo>
                  <a:cubicBezTo>
                    <a:pt x="332" y="550"/>
                    <a:pt x="332" y="550"/>
                    <a:pt x="23" y="550"/>
                  </a:cubicBezTo>
                  <a:cubicBezTo>
                    <a:pt x="16" y="550"/>
                    <a:pt x="10" y="554"/>
                    <a:pt x="6" y="559"/>
                  </a:cubicBezTo>
                  <a:cubicBezTo>
                    <a:pt x="1" y="565"/>
                    <a:pt x="0" y="573"/>
                    <a:pt x="2" y="580"/>
                  </a:cubicBezTo>
                  <a:cubicBezTo>
                    <a:pt x="2" y="580"/>
                    <a:pt x="2" y="580"/>
                    <a:pt x="18" y="632"/>
                  </a:cubicBezTo>
                  <a:cubicBezTo>
                    <a:pt x="21" y="642"/>
                    <a:pt x="31" y="649"/>
                    <a:pt x="40" y="649"/>
                  </a:cubicBezTo>
                  <a:cubicBezTo>
                    <a:pt x="40" y="649"/>
                    <a:pt x="40" y="649"/>
                    <a:pt x="863" y="649"/>
                  </a:cubicBezTo>
                  <a:cubicBezTo>
                    <a:pt x="872" y="649"/>
                    <a:pt x="881" y="642"/>
                    <a:pt x="884" y="632"/>
                  </a:cubicBezTo>
                  <a:cubicBezTo>
                    <a:pt x="884" y="632"/>
                    <a:pt x="884" y="632"/>
                    <a:pt x="901" y="580"/>
                  </a:cubicBezTo>
                  <a:cubicBezTo>
                    <a:pt x="903" y="573"/>
                    <a:pt x="902" y="565"/>
                    <a:pt x="897" y="559"/>
                  </a:cubicBezTo>
                  <a:close/>
                  <a:moveTo>
                    <a:pt x="538" y="205"/>
                  </a:moveTo>
                  <a:cubicBezTo>
                    <a:pt x="606" y="274"/>
                    <a:pt x="606" y="274"/>
                    <a:pt x="606" y="274"/>
                  </a:cubicBezTo>
                  <a:cubicBezTo>
                    <a:pt x="499" y="381"/>
                    <a:pt x="499" y="381"/>
                    <a:pt x="499" y="381"/>
                  </a:cubicBezTo>
                  <a:cubicBezTo>
                    <a:pt x="493" y="387"/>
                    <a:pt x="494" y="397"/>
                    <a:pt x="499" y="403"/>
                  </a:cubicBezTo>
                  <a:cubicBezTo>
                    <a:pt x="502" y="406"/>
                    <a:pt x="507" y="408"/>
                    <a:pt x="511" y="408"/>
                  </a:cubicBezTo>
                  <a:cubicBezTo>
                    <a:pt x="514" y="408"/>
                    <a:pt x="518" y="406"/>
                    <a:pt x="521" y="403"/>
                  </a:cubicBezTo>
                  <a:cubicBezTo>
                    <a:pt x="638" y="286"/>
                    <a:pt x="638" y="286"/>
                    <a:pt x="638" y="286"/>
                  </a:cubicBezTo>
                  <a:cubicBezTo>
                    <a:pt x="638" y="286"/>
                    <a:pt x="639" y="285"/>
                    <a:pt x="639" y="285"/>
                  </a:cubicBezTo>
                  <a:cubicBezTo>
                    <a:pt x="643" y="282"/>
                    <a:pt x="644" y="278"/>
                    <a:pt x="644" y="274"/>
                  </a:cubicBezTo>
                  <a:cubicBezTo>
                    <a:pt x="644" y="269"/>
                    <a:pt x="643" y="266"/>
                    <a:pt x="640" y="263"/>
                  </a:cubicBezTo>
                  <a:cubicBezTo>
                    <a:pt x="639" y="262"/>
                    <a:pt x="639" y="262"/>
                    <a:pt x="638" y="261"/>
                  </a:cubicBezTo>
                  <a:cubicBezTo>
                    <a:pt x="560" y="183"/>
                    <a:pt x="560" y="183"/>
                    <a:pt x="560" y="183"/>
                  </a:cubicBezTo>
                  <a:cubicBezTo>
                    <a:pt x="557" y="180"/>
                    <a:pt x="553" y="178"/>
                    <a:pt x="549" y="178"/>
                  </a:cubicBezTo>
                  <a:cubicBezTo>
                    <a:pt x="545" y="178"/>
                    <a:pt x="541" y="180"/>
                    <a:pt x="538" y="183"/>
                  </a:cubicBezTo>
                  <a:cubicBezTo>
                    <a:pt x="532" y="189"/>
                    <a:pt x="532" y="198"/>
                    <a:pt x="538" y="205"/>
                  </a:cubicBezTo>
                  <a:close/>
                  <a:moveTo>
                    <a:pt x="263" y="285"/>
                  </a:moveTo>
                  <a:cubicBezTo>
                    <a:pt x="264" y="286"/>
                    <a:pt x="264" y="286"/>
                    <a:pt x="264" y="286"/>
                  </a:cubicBezTo>
                  <a:cubicBezTo>
                    <a:pt x="343" y="365"/>
                    <a:pt x="343" y="365"/>
                    <a:pt x="343" y="365"/>
                  </a:cubicBezTo>
                  <a:cubicBezTo>
                    <a:pt x="343" y="365"/>
                    <a:pt x="343" y="365"/>
                    <a:pt x="343" y="366"/>
                  </a:cubicBezTo>
                  <a:cubicBezTo>
                    <a:pt x="346" y="368"/>
                    <a:pt x="350" y="369"/>
                    <a:pt x="354" y="369"/>
                  </a:cubicBezTo>
                  <a:cubicBezTo>
                    <a:pt x="358" y="369"/>
                    <a:pt x="362" y="368"/>
                    <a:pt x="365" y="365"/>
                  </a:cubicBezTo>
                  <a:cubicBezTo>
                    <a:pt x="368" y="362"/>
                    <a:pt x="370" y="358"/>
                    <a:pt x="369" y="353"/>
                  </a:cubicBezTo>
                  <a:cubicBezTo>
                    <a:pt x="369" y="349"/>
                    <a:pt x="368" y="345"/>
                    <a:pt x="365" y="343"/>
                  </a:cubicBezTo>
                  <a:cubicBezTo>
                    <a:pt x="296" y="274"/>
                    <a:pt x="296" y="274"/>
                    <a:pt x="296" y="274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406" y="164"/>
                    <a:pt x="408" y="160"/>
                    <a:pt x="408" y="156"/>
                  </a:cubicBezTo>
                  <a:cubicBezTo>
                    <a:pt x="408" y="152"/>
                    <a:pt x="406" y="147"/>
                    <a:pt x="403" y="144"/>
                  </a:cubicBezTo>
                  <a:cubicBezTo>
                    <a:pt x="397" y="139"/>
                    <a:pt x="387" y="138"/>
                    <a:pt x="381" y="144"/>
                  </a:cubicBezTo>
                  <a:cubicBezTo>
                    <a:pt x="264" y="262"/>
                    <a:pt x="264" y="262"/>
                    <a:pt x="264" y="262"/>
                  </a:cubicBezTo>
                  <a:cubicBezTo>
                    <a:pt x="264" y="262"/>
                    <a:pt x="264" y="262"/>
                    <a:pt x="263" y="262"/>
                  </a:cubicBezTo>
                  <a:cubicBezTo>
                    <a:pt x="263" y="263"/>
                    <a:pt x="263" y="263"/>
                    <a:pt x="263" y="263"/>
                  </a:cubicBezTo>
                  <a:cubicBezTo>
                    <a:pt x="260" y="266"/>
                    <a:pt x="259" y="270"/>
                    <a:pt x="259" y="274"/>
                  </a:cubicBezTo>
                  <a:cubicBezTo>
                    <a:pt x="259" y="278"/>
                    <a:pt x="260" y="282"/>
                    <a:pt x="263" y="285"/>
                  </a:cubicBezTo>
                  <a:cubicBezTo>
                    <a:pt x="263" y="285"/>
                    <a:pt x="263" y="285"/>
                    <a:pt x="263" y="285"/>
                  </a:cubicBezTo>
                  <a:close/>
                  <a:moveTo>
                    <a:pt x="375" y="418"/>
                  </a:moveTo>
                  <a:cubicBezTo>
                    <a:pt x="375" y="418"/>
                    <a:pt x="375" y="418"/>
                    <a:pt x="376" y="418"/>
                  </a:cubicBezTo>
                  <a:cubicBezTo>
                    <a:pt x="377" y="419"/>
                    <a:pt x="379" y="419"/>
                    <a:pt x="382" y="419"/>
                  </a:cubicBezTo>
                  <a:cubicBezTo>
                    <a:pt x="388" y="419"/>
                    <a:pt x="393" y="416"/>
                    <a:pt x="396" y="411"/>
                  </a:cubicBezTo>
                  <a:cubicBezTo>
                    <a:pt x="543" y="128"/>
                    <a:pt x="543" y="128"/>
                    <a:pt x="543" y="128"/>
                  </a:cubicBezTo>
                  <a:cubicBezTo>
                    <a:pt x="547" y="121"/>
                    <a:pt x="545" y="111"/>
                    <a:pt x="537" y="107"/>
                  </a:cubicBezTo>
                  <a:cubicBezTo>
                    <a:pt x="537" y="107"/>
                    <a:pt x="536" y="107"/>
                    <a:pt x="536" y="107"/>
                  </a:cubicBezTo>
                  <a:cubicBezTo>
                    <a:pt x="529" y="103"/>
                    <a:pt x="520" y="106"/>
                    <a:pt x="515" y="114"/>
                  </a:cubicBezTo>
                  <a:cubicBezTo>
                    <a:pt x="368" y="397"/>
                    <a:pt x="368" y="397"/>
                    <a:pt x="368" y="397"/>
                  </a:cubicBezTo>
                  <a:cubicBezTo>
                    <a:pt x="364" y="405"/>
                    <a:pt x="367" y="414"/>
                    <a:pt x="375" y="4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760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DD88B07-03C4-475C-9F1D-6668B13F89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36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DD88B07-03C4-475C-9F1D-6668B13F89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337" y="229661"/>
            <a:ext cx="7891317" cy="380810"/>
          </a:xfrm>
        </p:spPr>
        <p:txBody>
          <a:bodyPr vert="horz"/>
          <a:lstStyle/>
          <a:p>
            <a:r>
              <a:rPr lang="de-DE"/>
              <a:t>Providing test suite as a service</a:t>
            </a:r>
            <a:endParaRPr lang="de-DE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470" y="456923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10AFD62-AF74-40B2-B85B-899D6E5242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1383" y="4717699"/>
            <a:ext cx="3301233" cy="225062"/>
          </a:xfrm>
        </p:spPr>
        <p:txBody>
          <a:bodyPr wrap="square">
            <a:spAutoFit/>
          </a:bodyPr>
          <a:lstStyle/>
          <a:p>
            <a:pPr>
              <a:lnSpc>
                <a:spcPct val="113999"/>
              </a:lnSpc>
            </a:pPr>
            <a:r>
              <a:rPr lang="en-US">
                <a:ea typeface="+mn-lt"/>
                <a:cs typeface="+mn-lt"/>
              </a:rPr>
              <a:t>Infrastructure and templates are </a:t>
            </a:r>
            <a:r>
              <a:rPr lang="en-US">
                <a:cs typeface="Arial"/>
              </a:rPr>
              <a:t>provided</a:t>
            </a:r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7274FC3-9F6C-4F46-B4C0-C09A799D1408}"/>
              </a:ext>
            </a:extLst>
          </p:cNvPr>
          <p:cNvSpPr>
            <a:spLocks noChangeAspect="1"/>
          </p:cNvSpPr>
          <p:nvPr/>
        </p:nvSpPr>
        <p:spPr>
          <a:xfrm>
            <a:off x="3751670" y="1649443"/>
            <a:ext cx="1640659" cy="1640659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/>
            <a:r>
              <a:rPr lang="en-US" sz="6000" b="1" kern="0">
                <a:solidFill>
                  <a:srgbClr val="295E7E">
                    <a:lumMod val="100000"/>
                  </a:srgbClr>
                </a:solidFill>
              </a:rPr>
              <a:t>!</a:t>
            </a:r>
            <a:br>
              <a:rPr lang="en-US" sz="1200" kern="0">
                <a:solidFill>
                  <a:srgbClr val="295E7E">
                    <a:lumMod val="100000"/>
                  </a:srgbClr>
                </a:solidFill>
              </a:rPr>
            </a:br>
            <a:r>
              <a:rPr lang="en-US" sz="1400" kern="0">
                <a:solidFill>
                  <a:schemeClr val="bg1">
                    <a:lumMod val="50000"/>
                  </a:schemeClr>
                </a:solidFill>
              </a:rPr>
              <a:t>Achieving our goal!</a:t>
            </a:r>
            <a:endParaRPr lang="en-US" sz="120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318E377E-7951-4C9C-B452-9826EA406670}"/>
              </a:ext>
            </a:extLst>
          </p:cNvPr>
          <p:cNvSpPr txBox="1">
            <a:spLocks/>
          </p:cNvSpPr>
          <p:nvPr/>
        </p:nvSpPr>
        <p:spPr>
          <a:xfrm>
            <a:off x="2253314" y="1763845"/>
            <a:ext cx="1046204" cy="22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3999"/>
              </a:lnSpc>
            </a:pPr>
            <a:r>
              <a:rPr lang="en-US">
                <a:cs typeface="Arial"/>
              </a:rPr>
              <a:t>Test Review</a:t>
            </a:r>
            <a:endParaRPr lang="en-US"/>
          </a:p>
        </p:txBody>
      </p:sp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50BC4AD3-ADB4-4C34-958A-F01529298C49}"/>
              </a:ext>
            </a:extLst>
          </p:cNvPr>
          <p:cNvSpPr txBox="1">
            <a:spLocks/>
          </p:cNvSpPr>
          <p:nvPr/>
        </p:nvSpPr>
        <p:spPr>
          <a:xfrm>
            <a:off x="5538770" y="1755590"/>
            <a:ext cx="2052074" cy="22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tinuous improvement</a:t>
            </a:r>
          </a:p>
        </p:txBody>
      </p:sp>
      <p:sp>
        <p:nvSpPr>
          <p:cNvPr id="16" name="Inhaltsplatzhalter 1">
            <a:extLst>
              <a:ext uri="{FF2B5EF4-FFF2-40B4-BE49-F238E27FC236}">
                <a16:creationId xmlns:a16="http://schemas.microsoft.com/office/drawing/2014/main" id="{6C9AA982-3A00-4634-A47F-DE0F342513BB}"/>
              </a:ext>
            </a:extLst>
          </p:cNvPr>
          <p:cNvSpPr txBox="1">
            <a:spLocks/>
          </p:cNvSpPr>
          <p:nvPr/>
        </p:nvSpPr>
        <p:spPr>
          <a:xfrm>
            <a:off x="6150459" y="3446294"/>
            <a:ext cx="1362718" cy="22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ow entry barrier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E5BD8CF-20EB-4398-9E41-6AE91B76A32E}"/>
              </a:ext>
            </a:extLst>
          </p:cNvPr>
          <p:cNvGrpSpPr>
            <a:grpSpLocks noChangeAspect="1"/>
          </p:cNvGrpSpPr>
          <p:nvPr/>
        </p:nvGrpSpPr>
        <p:grpSpPr>
          <a:xfrm>
            <a:off x="6043467" y="923545"/>
            <a:ext cx="828492" cy="828492"/>
            <a:chOff x="5256341" y="2517774"/>
            <a:chExt cx="1646238" cy="1646238"/>
          </a:xfrm>
        </p:grpSpPr>
        <p:sp>
          <p:nvSpPr>
            <p:cNvPr id="32" name="AutoShape 107">
              <a:extLst>
                <a:ext uri="{FF2B5EF4-FFF2-40B4-BE49-F238E27FC236}">
                  <a16:creationId xmlns:a16="http://schemas.microsoft.com/office/drawing/2014/main" id="{3C22F6DD-1F76-435C-A140-9E6E5AA85E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56341" y="2517774"/>
              <a:ext cx="1646238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880E98F-9E73-410B-B721-6ED755FA4047}"/>
                </a:ext>
              </a:extLst>
            </p:cNvPr>
            <p:cNvGrpSpPr/>
            <p:nvPr/>
          </p:nvGrpSpPr>
          <p:grpSpPr>
            <a:xfrm>
              <a:off x="5432682" y="2692400"/>
              <a:ext cx="1293556" cy="1296987"/>
              <a:chOff x="5432682" y="2692400"/>
              <a:chExt cx="1293556" cy="1296987"/>
            </a:xfrm>
          </p:grpSpPr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18255FA7-66A0-45C5-9EFB-5E280164F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2682" y="2753317"/>
                <a:ext cx="1285289" cy="1236070"/>
              </a:xfrm>
              <a:custGeom>
                <a:avLst/>
                <a:gdLst>
                  <a:gd name="connsiteX0" fmla="*/ 233276 w 1285289"/>
                  <a:gd name="connsiteY0" fmla="*/ 991595 h 1236070"/>
                  <a:gd name="connsiteX1" fmla="*/ 630639 w 1285289"/>
                  <a:gd name="connsiteY1" fmla="*/ 1202571 h 1236070"/>
                  <a:gd name="connsiteX2" fmla="*/ 1078030 w 1285289"/>
                  <a:gd name="connsiteY2" fmla="*/ 1042201 h 1236070"/>
                  <a:gd name="connsiteX3" fmla="*/ 1008706 w 1285289"/>
                  <a:gd name="connsiteY3" fmla="*/ 1044339 h 1236070"/>
                  <a:gd name="connsiteX4" fmla="*/ 992268 w 1285289"/>
                  <a:gd name="connsiteY4" fmla="*/ 1029371 h 1236070"/>
                  <a:gd name="connsiteX5" fmla="*/ 1007991 w 1285289"/>
                  <a:gd name="connsiteY5" fmla="*/ 1012978 h 1236070"/>
                  <a:gd name="connsiteX6" fmla="*/ 1115908 w 1285289"/>
                  <a:gd name="connsiteY6" fmla="*/ 1010127 h 1236070"/>
                  <a:gd name="connsiteX7" fmla="*/ 1118052 w 1285289"/>
                  <a:gd name="connsiteY7" fmla="*/ 1010127 h 1236070"/>
                  <a:gd name="connsiteX8" fmla="*/ 1118767 w 1285289"/>
                  <a:gd name="connsiteY8" fmla="*/ 1010127 h 1236070"/>
                  <a:gd name="connsiteX9" fmla="*/ 1120911 w 1285289"/>
                  <a:gd name="connsiteY9" fmla="*/ 1010840 h 1236070"/>
                  <a:gd name="connsiteX10" fmla="*/ 1121626 w 1285289"/>
                  <a:gd name="connsiteY10" fmla="*/ 1010840 h 1236070"/>
                  <a:gd name="connsiteX11" fmla="*/ 1123770 w 1285289"/>
                  <a:gd name="connsiteY11" fmla="*/ 1012265 h 1236070"/>
                  <a:gd name="connsiteX12" fmla="*/ 1124484 w 1285289"/>
                  <a:gd name="connsiteY12" fmla="*/ 1012265 h 1236070"/>
                  <a:gd name="connsiteX13" fmla="*/ 1126628 w 1285289"/>
                  <a:gd name="connsiteY13" fmla="*/ 1013691 h 1236070"/>
                  <a:gd name="connsiteX14" fmla="*/ 1127343 w 1285289"/>
                  <a:gd name="connsiteY14" fmla="*/ 1014403 h 1236070"/>
                  <a:gd name="connsiteX15" fmla="*/ 1128772 w 1285289"/>
                  <a:gd name="connsiteY15" fmla="*/ 1015829 h 1236070"/>
                  <a:gd name="connsiteX16" fmla="*/ 1128772 w 1285289"/>
                  <a:gd name="connsiteY16" fmla="*/ 1016542 h 1236070"/>
                  <a:gd name="connsiteX17" fmla="*/ 1130202 w 1285289"/>
                  <a:gd name="connsiteY17" fmla="*/ 1018680 h 1236070"/>
                  <a:gd name="connsiteX18" fmla="*/ 1130202 w 1285289"/>
                  <a:gd name="connsiteY18" fmla="*/ 1019393 h 1236070"/>
                  <a:gd name="connsiteX19" fmla="*/ 1131631 w 1285289"/>
                  <a:gd name="connsiteY19" fmla="*/ 1021531 h 1236070"/>
                  <a:gd name="connsiteX20" fmla="*/ 1131631 w 1285289"/>
                  <a:gd name="connsiteY20" fmla="*/ 1022244 h 1236070"/>
                  <a:gd name="connsiteX21" fmla="*/ 1131631 w 1285289"/>
                  <a:gd name="connsiteY21" fmla="*/ 1024382 h 1236070"/>
                  <a:gd name="connsiteX22" fmla="*/ 1131631 w 1285289"/>
                  <a:gd name="connsiteY22" fmla="*/ 1025095 h 1236070"/>
                  <a:gd name="connsiteX23" fmla="*/ 1131631 w 1285289"/>
                  <a:gd name="connsiteY23" fmla="*/ 1026520 h 1236070"/>
                  <a:gd name="connsiteX24" fmla="*/ 1126628 w 1285289"/>
                  <a:gd name="connsiteY24" fmla="*/ 1132008 h 1236070"/>
                  <a:gd name="connsiteX25" fmla="*/ 1110905 w 1285289"/>
                  <a:gd name="connsiteY25" fmla="*/ 1147689 h 1236070"/>
                  <a:gd name="connsiteX26" fmla="*/ 1110191 w 1285289"/>
                  <a:gd name="connsiteY26" fmla="*/ 1147689 h 1236070"/>
                  <a:gd name="connsiteX27" fmla="*/ 1095182 w 1285289"/>
                  <a:gd name="connsiteY27" fmla="*/ 1130582 h 1236070"/>
                  <a:gd name="connsiteX28" fmla="*/ 1098041 w 1285289"/>
                  <a:gd name="connsiteY28" fmla="*/ 1066434 h 1236070"/>
                  <a:gd name="connsiteX29" fmla="*/ 905077 w 1285289"/>
                  <a:gd name="connsiteY29" fmla="*/ 1192592 h 1236070"/>
                  <a:gd name="connsiteX30" fmla="*/ 679952 w 1285289"/>
                  <a:gd name="connsiteY30" fmla="*/ 1236070 h 1236070"/>
                  <a:gd name="connsiteX31" fmla="*/ 627780 w 1285289"/>
                  <a:gd name="connsiteY31" fmla="*/ 1233932 h 1236070"/>
                  <a:gd name="connsiteX32" fmla="*/ 361918 w 1285289"/>
                  <a:gd name="connsiteY32" fmla="*/ 1146263 h 1236070"/>
                  <a:gd name="connsiteX33" fmla="*/ 206118 w 1285289"/>
                  <a:gd name="connsiteY33" fmla="*/ 1007988 h 1236070"/>
                  <a:gd name="connsiteX34" fmla="*/ 233276 w 1285289"/>
                  <a:gd name="connsiteY34" fmla="*/ 991595 h 1236070"/>
                  <a:gd name="connsiteX35" fmla="*/ 520755 w 1285289"/>
                  <a:gd name="connsiteY35" fmla="*/ 47032 h 1236070"/>
                  <a:gd name="connsiteX36" fmla="*/ 520755 w 1285289"/>
                  <a:gd name="connsiteY36" fmla="*/ 49891 h 1236070"/>
                  <a:gd name="connsiteX37" fmla="*/ 523619 w 1285289"/>
                  <a:gd name="connsiteY37" fmla="*/ 78479 h 1236070"/>
                  <a:gd name="connsiteX38" fmla="*/ 108403 w 1285289"/>
                  <a:gd name="connsiteY38" fmla="*/ 563049 h 1236070"/>
                  <a:gd name="connsiteX39" fmla="*/ 106255 w 1285289"/>
                  <a:gd name="connsiteY39" fmla="*/ 678831 h 1236070"/>
                  <a:gd name="connsiteX40" fmla="*/ 147061 w 1285289"/>
                  <a:gd name="connsiteY40" fmla="*/ 624513 h 1236070"/>
                  <a:gd name="connsiteX41" fmla="*/ 169253 w 1285289"/>
                  <a:gd name="connsiteY41" fmla="*/ 620940 h 1236070"/>
                  <a:gd name="connsiteX42" fmla="*/ 172833 w 1285289"/>
                  <a:gd name="connsiteY42" fmla="*/ 643096 h 1236070"/>
                  <a:gd name="connsiteX43" fmla="*/ 108403 w 1285289"/>
                  <a:gd name="connsiteY43" fmla="*/ 728860 h 1236070"/>
                  <a:gd name="connsiteX44" fmla="*/ 107687 w 1285289"/>
                  <a:gd name="connsiteY44" fmla="*/ 729575 h 1236070"/>
                  <a:gd name="connsiteX45" fmla="*/ 106255 w 1285289"/>
                  <a:gd name="connsiteY45" fmla="*/ 731719 h 1236070"/>
                  <a:gd name="connsiteX46" fmla="*/ 105539 w 1285289"/>
                  <a:gd name="connsiteY46" fmla="*/ 731719 h 1236070"/>
                  <a:gd name="connsiteX47" fmla="*/ 104107 w 1285289"/>
                  <a:gd name="connsiteY47" fmla="*/ 733148 h 1236070"/>
                  <a:gd name="connsiteX48" fmla="*/ 102676 w 1285289"/>
                  <a:gd name="connsiteY48" fmla="*/ 733863 h 1236070"/>
                  <a:gd name="connsiteX49" fmla="*/ 101244 w 1285289"/>
                  <a:gd name="connsiteY49" fmla="*/ 734578 h 1236070"/>
                  <a:gd name="connsiteX50" fmla="*/ 98380 w 1285289"/>
                  <a:gd name="connsiteY50" fmla="*/ 735292 h 1236070"/>
                  <a:gd name="connsiteX51" fmla="*/ 97664 w 1285289"/>
                  <a:gd name="connsiteY51" fmla="*/ 735292 h 1236070"/>
                  <a:gd name="connsiteX52" fmla="*/ 96949 w 1285289"/>
                  <a:gd name="connsiteY52" fmla="*/ 735292 h 1236070"/>
                  <a:gd name="connsiteX53" fmla="*/ 96949 w 1285289"/>
                  <a:gd name="connsiteY53" fmla="*/ 736007 h 1236070"/>
                  <a:gd name="connsiteX54" fmla="*/ 95517 w 1285289"/>
                  <a:gd name="connsiteY54" fmla="*/ 736007 h 1236070"/>
                  <a:gd name="connsiteX55" fmla="*/ 92653 w 1285289"/>
                  <a:gd name="connsiteY55" fmla="*/ 735292 h 1236070"/>
                  <a:gd name="connsiteX56" fmla="*/ 89790 w 1285289"/>
                  <a:gd name="connsiteY56" fmla="*/ 734578 h 1236070"/>
                  <a:gd name="connsiteX57" fmla="*/ 87642 w 1285289"/>
                  <a:gd name="connsiteY57" fmla="*/ 733863 h 1236070"/>
                  <a:gd name="connsiteX58" fmla="*/ 85494 w 1285289"/>
                  <a:gd name="connsiteY58" fmla="*/ 732434 h 1236070"/>
                  <a:gd name="connsiteX59" fmla="*/ 84778 w 1285289"/>
                  <a:gd name="connsiteY59" fmla="*/ 731719 h 1236070"/>
                  <a:gd name="connsiteX60" fmla="*/ 5315 w 1285289"/>
                  <a:gd name="connsiteY60" fmla="*/ 660963 h 1236070"/>
                  <a:gd name="connsiteX61" fmla="*/ 3883 w 1285289"/>
                  <a:gd name="connsiteY61" fmla="*/ 638807 h 1236070"/>
                  <a:gd name="connsiteX62" fmla="*/ 26075 w 1285289"/>
                  <a:gd name="connsiteY62" fmla="*/ 637378 h 1236070"/>
                  <a:gd name="connsiteX63" fmla="*/ 74756 w 1285289"/>
                  <a:gd name="connsiteY63" fmla="*/ 680975 h 1236070"/>
                  <a:gd name="connsiteX64" fmla="*/ 76904 w 1285289"/>
                  <a:gd name="connsiteY64" fmla="*/ 559475 h 1236070"/>
                  <a:gd name="connsiteX65" fmla="*/ 520755 w 1285289"/>
                  <a:gd name="connsiteY65" fmla="*/ 47032 h 1236070"/>
                  <a:gd name="connsiteX66" fmla="*/ 932443 w 1285289"/>
                  <a:gd name="connsiteY66" fmla="*/ 1029 h 1236070"/>
                  <a:gd name="connsiteX67" fmla="*/ 941187 w 1285289"/>
                  <a:gd name="connsiteY67" fmla="*/ 9230 h 1236070"/>
                  <a:gd name="connsiteX68" fmla="*/ 933335 w 1285289"/>
                  <a:gd name="connsiteY68" fmla="*/ 29910 h 1236070"/>
                  <a:gd name="connsiteX69" fmla="*/ 874090 w 1285289"/>
                  <a:gd name="connsiteY69" fmla="*/ 57009 h 1236070"/>
                  <a:gd name="connsiteX70" fmla="*/ 1283809 w 1285289"/>
                  <a:gd name="connsiteY70" fmla="*/ 671716 h 1236070"/>
                  <a:gd name="connsiteX71" fmla="*/ 1270960 w 1285289"/>
                  <a:gd name="connsiteY71" fmla="*/ 762995 h 1236070"/>
                  <a:gd name="connsiteX72" fmla="*/ 1242409 w 1285289"/>
                  <a:gd name="connsiteY72" fmla="*/ 745880 h 1236070"/>
                  <a:gd name="connsiteX73" fmla="*/ 1252402 w 1285289"/>
                  <a:gd name="connsiteY73" fmla="*/ 669577 h 1236070"/>
                  <a:gd name="connsiteX74" fmla="*/ 862669 w 1285289"/>
                  <a:gd name="connsiteY74" fmla="*/ 86247 h 1236070"/>
                  <a:gd name="connsiteX75" fmla="*/ 896932 w 1285289"/>
                  <a:gd name="connsiteY75" fmla="*/ 146149 h 1236070"/>
                  <a:gd name="connsiteX76" fmla="*/ 890507 w 1285289"/>
                  <a:gd name="connsiteY76" fmla="*/ 167542 h 1236070"/>
                  <a:gd name="connsiteX77" fmla="*/ 882656 w 1285289"/>
                  <a:gd name="connsiteY77" fmla="*/ 169681 h 1236070"/>
                  <a:gd name="connsiteX78" fmla="*/ 869094 w 1285289"/>
                  <a:gd name="connsiteY78" fmla="*/ 161837 h 1236070"/>
                  <a:gd name="connsiteX79" fmla="*/ 815559 w 1285289"/>
                  <a:gd name="connsiteY79" fmla="*/ 67706 h 1236070"/>
                  <a:gd name="connsiteX80" fmla="*/ 815559 w 1285289"/>
                  <a:gd name="connsiteY80" fmla="*/ 66993 h 1236070"/>
                  <a:gd name="connsiteX81" fmla="*/ 815559 w 1285289"/>
                  <a:gd name="connsiteY81" fmla="*/ 66279 h 1236070"/>
                  <a:gd name="connsiteX82" fmla="*/ 814845 w 1285289"/>
                  <a:gd name="connsiteY82" fmla="*/ 65566 h 1236070"/>
                  <a:gd name="connsiteX83" fmla="*/ 814845 w 1285289"/>
                  <a:gd name="connsiteY83" fmla="*/ 64853 h 1236070"/>
                  <a:gd name="connsiteX84" fmla="*/ 814845 w 1285289"/>
                  <a:gd name="connsiteY84" fmla="*/ 64140 h 1236070"/>
                  <a:gd name="connsiteX85" fmla="*/ 814131 w 1285289"/>
                  <a:gd name="connsiteY85" fmla="*/ 63427 h 1236070"/>
                  <a:gd name="connsiteX86" fmla="*/ 814131 w 1285289"/>
                  <a:gd name="connsiteY86" fmla="*/ 62714 h 1236070"/>
                  <a:gd name="connsiteX87" fmla="*/ 814131 w 1285289"/>
                  <a:gd name="connsiteY87" fmla="*/ 62001 h 1236070"/>
                  <a:gd name="connsiteX88" fmla="*/ 814131 w 1285289"/>
                  <a:gd name="connsiteY88" fmla="*/ 61288 h 1236070"/>
                  <a:gd name="connsiteX89" fmla="*/ 814131 w 1285289"/>
                  <a:gd name="connsiteY89" fmla="*/ 60574 h 1236070"/>
                  <a:gd name="connsiteX90" fmla="*/ 814131 w 1285289"/>
                  <a:gd name="connsiteY90" fmla="*/ 59861 h 1236070"/>
                  <a:gd name="connsiteX91" fmla="*/ 814131 w 1285289"/>
                  <a:gd name="connsiteY91" fmla="*/ 58435 h 1236070"/>
                  <a:gd name="connsiteX92" fmla="*/ 814131 w 1285289"/>
                  <a:gd name="connsiteY92" fmla="*/ 57722 h 1236070"/>
                  <a:gd name="connsiteX93" fmla="*/ 814131 w 1285289"/>
                  <a:gd name="connsiteY93" fmla="*/ 57009 h 1236070"/>
                  <a:gd name="connsiteX94" fmla="*/ 814131 w 1285289"/>
                  <a:gd name="connsiteY94" fmla="*/ 56296 h 1236070"/>
                  <a:gd name="connsiteX95" fmla="*/ 814845 w 1285289"/>
                  <a:gd name="connsiteY95" fmla="*/ 55583 h 1236070"/>
                  <a:gd name="connsiteX96" fmla="*/ 814845 w 1285289"/>
                  <a:gd name="connsiteY96" fmla="*/ 54870 h 1236070"/>
                  <a:gd name="connsiteX97" fmla="*/ 815559 w 1285289"/>
                  <a:gd name="connsiteY97" fmla="*/ 52017 h 1236070"/>
                  <a:gd name="connsiteX98" fmla="*/ 816273 w 1285289"/>
                  <a:gd name="connsiteY98" fmla="*/ 52017 h 1236070"/>
                  <a:gd name="connsiteX99" fmla="*/ 817700 w 1285289"/>
                  <a:gd name="connsiteY99" fmla="*/ 49878 h 1236070"/>
                  <a:gd name="connsiteX100" fmla="*/ 819842 w 1285289"/>
                  <a:gd name="connsiteY100" fmla="*/ 47738 h 1236070"/>
                  <a:gd name="connsiteX101" fmla="*/ 820555 w 1285289"/>
                  <a:gd name="connsiteY101" fmla="*/ 47738 h 1236070"/>
                  <a:gd name="connsiteX102" fmla="*/ 822697 w 1285289"/>
                  <a:gd name="connsiteY102" fmla="*/ 45599 h 1236070"/>
                  <a:gd name="connsiteX103" fmla="*/ 920487 w 1285289"/>
                  <a:gd name="connsiteY103" fmla="*/ 1386 h 1236070"/>
                  <a:gd name="connsiteX104" fmla="*/ 932443 w 1285289"/>
                  <a:gd name="connsiteY104" fmla="*/ 1029 h 1236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285289" h="1236070">
                    <a:moveTo>
                      <a:pt x="233276" y="991595"/>
                    </a:moveTo>
                    <a:cubicBezTo>
                      <a:pt x="331187" y="1112763"/>
                      <a:pt x="472694" y="1189741"/>
                      <a:pt x="630639" y="1202571"/>
                    </a:cubicBezTo>
                    <a:cubicBezTo>
                      <a:pt x="797874" y="1216826"/>
                      <a:pt x="958678" y="1159093"/>
                      <a:pt x="1078030" y="1042201"/>
                    </a:cubicBezTo>
                    <a:cubicBezTo>
                      <a:pt x="1078030" y="1042201"/>
                      <a:pt x="1078030" y="1042201"/>
                      <a:pt x="1008706" y="1044339"/>
                    </a:cubicBezTo>
                    <a:cubicBezTo>
                      <a:pt x="1000130" y="1045052"/>
                      <a:pt x="992983" y="1037924"/>
                      <a:pt x="992268" y="1029371"/>
                    </a:cubicBezTo>
                    <a:cubicBezTo>
                      <a:pt x="992268" y="1020818"/>
                      <a:pt x="999415" y="1013691"/>
                      <a:pt x="1007991" y="1012978"/>
                    </a:cubicBezTo>
                    <a:cubicBezTo>
                      <a:pt x="1007991" y="1012978"/>
                      <a:pt x="1007991" y="1012978"/>
                      <a:pt x="1115908" y="1010127"/>
                    </a:cubicBezTo>
                    <a:cubicBezTo>
                      <a:pt x="1116623" y="1010127"/>
                      <a:pt x="1117338" y="1010127"/>
                      <a:pt x="1118052" y="1010127"/>
                    </a:cubicBezTo>
                    <a:cubicBezTo>
                      <a:pt x="1118052" y="1010127"/>
                      <a:pt x="1118052" y="1010127"/>
                      <a:pt x="1118767" y="1010127"/>
                    </a:cubicBezTo>
                    <a:cubicBezTo>
                      <a:pt x="1119482" y="1010127"/>
                      <a:pt x="1120196" y="1010127"/>
                      <a:pt x="1120911" y="1010840"/>
                    </a:cubicBezTo>
                    <a:cubicBezTo>
                      <a:pt x="1120911" y="1010840"/>
                      <a:pt x="1120911" y="1010840"/>
                      <a:pt x="1121626" y="1010840"/>
                    </a:cubicBezTo>
                    <a:cubicBezTo>
                      <a:pt x="1122340" y="1010840"/>
                      <a:pt x="1123055" y="1011552"/>
                      <a:pt x="1123770" y="1012265"/>
                    </a:cubicBezTo>
                    <a:cubicBezTo>
                      <a:pt x="1123770" y="1012265"/>
                      <a:pt x="1123770" y="1012265"/>
                      <a:pt x="1124484" y="1012265"/>
                    </a:cubicBezTo>
                    <a:cubicBezTo>
                      <a:pt x="1125199" y="1012265"/>
                      <a:pt x="1125914" y="1012978"/>
                      <a:pt x="1126628" y="1013691"/>
                    </a:cubicBezTo>
                    <a:cubicBezTo>
                      <a:pt x="1126628" y="1014403"/>
                      <a:pt x="1127343" y="1014403"/>
                      <a:pt x="1127343" y="1014403"/>
                    </a:cubicBezTo>
                    <a:cubicBezTo>
                      <a:pt x="1128058" y="1015116"/>
                      <a:pt x="1128058" y="1015829"/>
                      <a:pt x="1128772" y="1015829"/>
                    </a:cubicBezTo>
                    <a:cubicBezTo>
                      <a:pt x="1128772" y="1016542"/>
                      <a:pt x="1128772" y="1016542"/>
                      <a:pt x="1128772" y="1016542"/>
                    </a:cubicBezTo>
                    <a:cubicBezTo>
                      <a:pt x="1129487" y="1017254"/>
                      <a:pt x="1130202" y="1017967"/>
                      <a:pt x="1130202" y="1018680"/>
                    </a:cubicBezTo>
                    <a:cubicBezTo>
                      <a:pt x="1130202" y="1018680"/>
                      <a:pt x="1130202" y="1018680"/>
                      <a:pt x="1130202" y="1019393"/>
                    </a:cubicBezTo>
                    <a:cubicBezTo>
                      <a:pt x="1130917" y="1020105"/>
                      <a:pt x="1130917" y="1020818"/>
                      <a:pt x="1131631" y="1021531"/>
                    </a:cubicBezTo>
                    <a:cubicBezTo>
                      <a:pt x="1131631" y="1021531"/>
                      <a:pt x="1131631" y="1021531"/>
                      <a:pt x="1131631" y="1022244"/>
                    </a:cubicBezTo>
                    <a:cubicBezTo>
                      <a:pt x="1131631" y="1022956"/>
                      <a:pt x="1131631" y="1023669"/>
                      <a:pt x="1131631" y="1024382"/>
                    </a:cubicBezTo>
                    <a:cubicBezTo>
                      <a:pt x="1131631" y="1024382"/>
                      <a:pt x="1131631" y="1024382"/>
                      <a:pt x="1131631" y="1025095"/>
                    </a:cubicBezTo>
                    <a:cubicBezTo>
                      <a:pt x="1131631" y="1025095"/>
                      <a:pt x="1131631" y="1025807"/>
                      <a:pt x="1131631" y="1026520"/>
                    </a:cubicBezTo>
                    <a:cubicBezTo>
                      <a:pt x="1131631" y="1026520"/>
                      <a:pt x="1131631" y="1026520"/>
                      <a:pt x="1126628" y="1132008"/>
                    </a:cubicBezTo>
                    <a:cubicBezTo>
                      <a:pt x="1125914" y="1140561"/>
                      <a:pt x="1118767" y="1147689"/>
                      <a:pt x="1110905" y="1147689"/>
                    </a:cubicBezTo>
                    <a:cubicBezTo>
                      <a:pt x="1110191" y="1147689"/>
                      <a:pt x="1110191" y="1147689"/>
                      <a:pt x="1110191" y="1147689"/>
                    </a:cubicBezTo>
                    <a:cubicBezTo>
                      <a:pt x="1100900" y="1147689"/>
                      <a:pt x="1094468" y="1139135"/>
                      <a:pt x="1095182" y="1130582"/>
                    </a:cubicBezTo>
                    <a:cubicBezTo>
                      <a:pt x="1095182" y="1130582"/>
                      <a:pt x="1095182" y="1130582"/>
                      <a:pt x="1098041" y="1066434"/>
                    </a:cubicBezTo>
                    <a:cubicBezTo>
                      <a:pt x="1042296" y="1119891"/>
                      <a:pt x="976545" y="1163369"/>
                      <a:pt x="905077" y="1192592"/>
                    </a:cubicBezTo>
                    <a:cubicBezTo>
                      <a:pt x="833609" y="1221815"/>
                      <a:pt x="757852" y="1236070"/>
                      <a:pt x="679952" y="1236070"/>
                    </a:cubicBezTo>
                    <a:cubicBezTo>
                      <a:pt x="662799" y="1236070"/>
                      <a:pt x="645647" y="1235357"/>
                      <a:pt x="627780" y="1233932"/>
                    </a:cubicBezTo>
                    <a:cubicBezTo>
                      <a:pt x="532013" y="1226092"/>
                      <a:pt x="441963" y="1196156"/>
                      <a:pt x="361918" y="1146263"/>
                    </a:cubicBezTo>
                    <a:cubicBezTo>
                      <a:pt x="302600" y="1109200"/>
                      <a:pt x="249713" y="1062158"/>
                      <a:pt x="206118" y="1007988"/>
                    </a:cubicBezTo>
                    <a:cubicBezTo>
                      <a:pt x="216123" y="1003712"/>
                      <a:pt x="224699" y="998010"/>
                      <a:pt x="233276" y="991595"/>
                    </a:cubicBezTo>
                    <a:close/>
                    <a:moveTo>
                      <a:pt x="520755" y="47032"/>
                    </a:moveTo>
                    <a:cubicBezTo>
                      <a:pt x="520755" y="47747"/>
                      <a:pt x="520755" y="49176"/>
                      <a:pt x="520755" y="49891"/>
                    </a:cubicBezTo>
                    <a:cubicBezTo>
                      <a:pt x="520755" y="59897"/>
                      <a:pt x="521471" y="69188"/>
                      <a:pt x="523619" y="78479"/>
                    </a:cubicBezTo>
                    <a:cubicBezTo>
                      <a:pt x="303841" y="139944"/>
                      <a:pt x="136322" y="329340"/>
                      <a:pt x="108403" y="563049"/>
                    </a:cubicBezTo>
                    <a:cubicBezTo>
                      <a:pt x="104107" y="601643"/>
                      <a:pt x="103392" y="640237"/>
                      <a:pt x="106255" y="678831"/>
                    </a:cubicBezTo>
                    <a:cubicBezTo>
                      <a:pt x="106255" y="678831"/>
                      <a:pt x="106255" y="678831"/>
                      <a:pt x="147061" y="624513"/>
                    </a:cubicBezTo>
                    <a:cubicBezTo>
                      <a:pt x="152788" y="617366"/>
                      <a:pt x="162094" y="615937"/>
                      <a:pt x="169253" y="620940"/>
                    </a:cubicBezTo>
                    <a:cubicBezTo>
                      <a:pt x="176412" y="625943"/>
                      <a:pt x="177844" y="635949"/>
                      <a:pt x="172833" y="643096"/>
                    </a:cubicBezTo>
                    <a:cubicBezTo>
                      <a:pt x="172833" y="643096"/>
                      <a:pt x="172833" y="643096"/>
                      <a:pt x="108403" y="728860"/>
                    </a:cubicBezTo>
                    <a:cubicBezTo>
                      <a:pt x="108403" y="728860"/>
                      <a:pt x="108403" y="728860"/>
                      <a:pt x="107687" y="729575"/>
                    </a:cubicBezTo>
                    <a:cubicBezTo>
                      <a:pt x="106971" y="730290"/>
                      <a:pt x="106255" y="731004"/>
                      <a:pt x="106255" y="731719"/>
                    </a:cubicBezTo>
                    <a:cubicBezTo>
                      <a:pt x="105539" y="731719"/>
                      <a:pt x="105539" y="731719"/>
                      <a:pt x="105539" y="731719"/>
                    </a:cubicBezTo>
                    <a:cubicBezTo>
                      <a:pt x="104823" y="732434"/>
                      <a:pt x="104107" y="733148"/>
                      <a:pt x="104107" y="733148"/>
                    </a:cubicBezTo>
                    <a:cubicBezTo>
                      <a:pt x="103392" y="733148"/>
                      <a:pt x="103392" y="733863"/>
                      <a:pt x="102676" y="733863"/>
                    </a:cubicBezTo>
                    <a:cubicBezTo>
                      <a:pt x="101960" y="733863"/>
                      <a:pt x="101960" y="734578"/>
                      <a:pt x="101244" y="734578"/>
                    </a:cubicBezTo>
                    <a:cubicBezTo>
                      <a:pt x="100528" y="734578"/>
                      <a:pt x="99096" y="735292"/>
                      <a:pt x="98380" y="735292"/>
                    </a:cubicBezTo>
                    <a:cubicBezTo>
                      <a:pt x="98380" y="735292"/>
                      <a:pt x="98380" y="735292"/>
                      <a:pt x="97664" y="735292"/>
                    </a:cubicBezTo>
                    <a:cubicBezTo>
                      <a:pt x="97664" y="735292"/>
                      <a:pt x="97664" y="735292"/>
                      <a:pt x="96949" y="735292"/>
                    </a:cubicBezTo>
                    <a:cubicBezTo>
                      <a:pt x="96949" y="735292"/>
                      <a:pt x="96949" y="735292"/>
                      <a:pt x="96949" y="736007"/>
                    </a:cubicBezTo>
                    <a:cubicBezTo>
                      <a:pt x="96233" y="736007"/>
                      <a:pt x="96233" y="736007"/>
                      <a:pt x="95517" y="736007"/>
                    </a:cubicBezTo>
                    <a:cubicBezTo>
                      <a:pt x="94085" y="736007"/>
                      <a:pt x="93369" y="736007"/>
                      <a:pt x="92653" y="735292"/>
                    </a:cubicBezTo>
                    <a:cubicBezTo>
                      <a:pt x="91937" y="735292"/>
                      <a:pt x="90506" y="735292"/>
                      <a:pt x="89790" y="734578"/>
                    </a:cubicBezTo>
                    <a:cubicBezTo>
                      <a:pt x="89074" y="734578"/>
                      <a:pt x="88358" y="734578"/>
                      <a:pt x="87642" y="733863"/>
                    </a:cubicBezTo>
                    <a:cubicBezTo>
                      <a:pt x="86926" y="733148"/>
                      <a:pt x="86210" y="733148"/>
                      <a:pt x="85494" y="732434"/>
                    </a:cubicBezTo>
                    <a:cubicBezTo>
                      <a:pt x="85494" y="732434"/>
                      <a:pt x="84778" y="732434"/>
                      <a:pt x="84778" y="731719"/>
                    </a:cubicBezTo>
                    <a:cubicBezTo>
                      <a:pt x="84778" y="731719"/>
                      <a:pt x="84778" y="731719"/>
                      <a:pt x="5315" y="660963"/>
                    </a:cubicBezTo>
                    <a:cubicBezTo>
                      <a:pt x="-1128" y="655246"/>
                      <a:pt x="-1844" y="645954"/>
                      <a:pt x="3883" y="638807"/>
                    </a:cubicBezTo>
                    <a:cubicBezTo>
                      <a:pt x="9610" y="632375"/>
                      <a:pt x="19632" y="631660"/>
                      <a:pt x="26075" y="637378"/>
                    </a:cubicBezTo>
                    <a:cubicBezTo>
                      <a:pt x="26075" y="637378"/>
                      <a:pt x="26075" y="637378"/>
                      <a:pt x="74756" y="680975"/>
                    </a:cubicBezTo>
                    <a:cubicBezTo>
                      <a:pt x="71176" y="640237"/>
                      <a:pt x="72608" y="599499"/>
                      <a:pt x="76904" y="559475"/>
                    </a:cubicBezTo>
                    <a:cubicBezTo>
                      <a:pt x="106971" y="310758"/>
                      <a:pt x="286659" y="109926"/>
                      <a:pt x="520755" y="47032"/>
                    </a:cubicBezTo>
                    <a:close/>
                    <a:moveTo>
                      <a:pt x="932443" y="1029"/>
                    </a:moveTo>
                    <a:cubicBezTo>
                      <a:pt x="936190" y="2455"/>
                      <a:pt x="939402" y="5308"/>
                      <a:pt x="941187" y="9230"/>
                    </a:cubicBezTo>
                    <a:cubicBezTo>
                      <a:pt x="944756" y="17074"/>
                      <a:pt x="941187" y="26345"/>
                      <a:pt x="933335" y="29910"/>
                    </a:cubicBezTo>
                    <a:cubicBezTo>
                      <a:pt x="933335" y="29910"/>
                      <a:pt x="933335" y="29910"/>
                      <a:pt x="874090" y="57009"/>
                    </a:cubicBezTo>
                    <a:cubicBezTo>
                      <a:pt x="1132484" y="144009"/>
                      <a:pt x="1303081" y="395740"/>
                      <a:pt x="1283809" y="671716"/>
                    </a:cubicBezTo>
                    <a:cubicBezTo>
                      <a:pt x="1281667" y="702380"/>
                      <a:pt x="1277385" y="733044"/>
                      <a:pt x="1270960" y="762995"/>
                    </a:cubicBezTo>
                    <a:cubicBezTo>
                      <a:pt x="1261681" y="755864"/>
                      <a:pt x="1252402" y="750159"/>
                      <a:pt x="1242409" y="745880"/>
                    </a:cubicBezTo>
                    <a:cubicBezTo>
                      <a:pt x="1247405" y="720921"/>
                      <a:pt x="1250974" y="695249"/>
                      <a:pt x="1252402" y="669577"/>
                    </a:cubicBezTo>
                    <a:cubicBezTo>
                      <a:pt x="1270960" y="407150"/>
                      <a:pt x="1108215" y="168255"/>
                      <a:pt x="862669" y="86247"/>
                    </a:cubicBezTo>
                    <a:cubicBezTo>
                      <a:pt x="862669" y="86247"/>
                      <a:pt x="862669" y="86247"/>
                      <a:pt x="896932" y="146149"/>
                    </a:cubicBezTo>
                    <a:cubicBezTo>
                      <a:pt x="901214" y="153993"/>
                      <a:pt x="898359" y="163263"/>
                      <a:pt x="890507" y="167542"/>
                    </a:cubicBezTo>
                    <a:cubicBezTo>
                      <a:pt x="887652" y="168968"/>
                      <a:pt x="884797" y="169681"/>
                      <a:pt x="882656" y="169681"/>
                    </a:cubicBezTo>
                    <a:cubicBezTo>
                      <a:pt x="876945" y="169681"/>
                      <a:pt x="871949" y="166829"/>
                      <a:pt x="869094" y="161837"/>
                    </a:cubicBezTo>
                    <a:cubicBezTo>
                      <a:pt x="869094" y="161837"/>
                      <a:pt x="869094" y="161837"/>
                      <a:pt x="815559" y="67706"/>
                    </a:cubicBezTo>
                    <a:cubicBezTo>
                      <a:pt x="815559" y="67706"/>
                      <a:pt x="815559" y="67706"/>
                      <a:pt x="815559" y="66993"/>
                    </a:cubicBezTo>
                    <a:cubicBezTo>
                      <a:pt x="815559" y="66993"/>
                      <a:pt x="815559" y="66993"/>
                      <a:pt x="815559" y="66279"/>
                    </a:cubicBezTo>
                    <a:cubicBezTo>
                      <a:pt x="814845" y="66279"/>
                      <a:pt x="814845" y="66279"/>
                      <a:pt x="814845" y="65566"/>
                    </a:cubicBezTo>
                    <a:cubicBezTo>
                      <a:pt x="814845" y="65566"/>
                      <a:pt x="814845" y="65566"/>
                      <a:pt x="814845" y="64853"/>
                    </a:cubicBezTo>
                    <a:cubicBezTo>
                      <a:pt x="814845" y="64853"/>
                      <a:pt x="814845" y="64853"/>
                      <a:pt x="814845" y="64140"/>
                    </a:cubicBezTo>
                    <a:cubicBezTo>
                      <a:pt x="814131" y="64140"/>
                      <a:pt x="814131" y="63427"/>
                      <a:pt x="814131" y="63427"/>
                    </a:cubicBezTo>
                    <a:cubicBezTo>
                      <a:pt x="814131" y="63427"/>
                      <a:pt x="814131" y="63427"/>
                      <a:pt x="814131" y="62714"/>
                    </a:cubicBezTo>
                    <a:cubicBezTo>
                      <a:pt x="814131" y="62714"/>
                      <a:pt x="814131" y="62714"/>
                      <a:pt x="814131" y="62001"/>
                    </a:cubicBezTo>
                    <a:cubicBezTo>
                      <a:pt x="814131" y="62001"/>
                      <a:pt x="814131" y="62001"/>
                      <a:pt x="814131" y="61288"/>
                    </a:cubicBezTo>
                    <a:cubicBezTo>
                      <a:pt x="814131" y="61288"/>
                      <a:pt x="814131" y="61288"/>
                      <a:pt x="814131" y="60574"/>
                    </a:cubicBezTo>
                    <a:cubicBezTo>
                      <a:pt x="814131" y="59861"/>
                      <a:pt x="814131" y="59861"/>
                      <a:pt x="814131" y="59861"/>
                    </a:cubicBezTo>
                    <a:cubicBezTo>
                      <a:pt x="814131" y="59148"/>
                      <a:pt x="814131" y="59148"/>
                      <a:pt x="814131" y="58435"/>
                    </a:cubicBezTo>
                    <a:cubicBezTo>
                      <a:pt x="814131" y="58435"/>
                      <a:pt x="814131" y="58435"/>
                      <a:pt x="814131" y="57722"/>
                    </a:cubicBezTo>
                    <a:cubicBezTo>
                      <a:pt x="814131" y="57722"/>
                      <a:pt x="814131" y="57722"/>
                      <a:pt x="814131" y="57009"/>
                    </a:cubicBezTo>
                    <a:cubicBezTo>
                      <a:pt x="814131" y="57009"/>
                      <a:pt x="814131" y="57009"/>
                      <a:pt x="814131" y="56296"/>
                    </a:cubicBezTo>
                    <a:cubicBezTo>
                      <a:pt x="814131" y="55583"/>
                      <a:pt x="814845" y="55583"/>
                      <a:pt x="814845" y="55583"/>
                    </a:cubicBezTo>
                    <a:cubicBezTo>
                      <a:pt x="814845" y="55583"/>
                      <a:pt x="814845" y="55583"/>
                      <a:pt x="814845" y="54870"/>
                    </a:cubicBezTo>
                    <a:cubicBezTo>
                      <a:pt x="814845" y="54156"/>
                      <a:pt x="815559" y="53443"/>
                      <a:pt x="815559" y="52017"/>
                    </a:cubicBezTo>
                    <a:cubicBezTo>
                      <a:pt x="816273" y="52017"/>
                      <a:pt x="816273" y="52017"/>
                      <a:pt x="816273" y="52017"/>
                    </a:cubicBezTo>
                    <a:cubicBezTo>
                      <a:pt x="816273" y="51304"/>
                      <a:pt x="816986" y="50591"/>
                      <a:pt x="817700" y="49878"/>
                    </a:cubicBezTo>
                    <a:cubicBezTo>
                      <a:pt x="818414" y="49165"/>
                      <a:pt x="819128" y="48451"/>
                      <a:pt x="819842" y="47738"/>
                    </a:cubicBezTo>
                    <a:cubicBezTo>
                      <a:pt x="820555" y="47738"/>
                      <a:pt x="820555" y="47738"/>
                      <a:pt x="820555" y="47738"/>
                    </a:cubicBezTo>
                    <a:cubicBezTo>
                      <a:pt x="821269" y="47025"/>
                      <a:pt x="821983" y="46312"/>
                      <a:pt x="822697" y="45599"/>
                    </a:cubicBezTo>
                    <a:cubicBezTo>
                      <a:pt x="822697" y="45599"/>
                      <a:pt x="822697" y="45599"/>
                      <a:pt x="920487" y="1386"/>
                    </a:cubicBezTo>
                    <a:cubicBezTo>
                      <a:pt x="924413" y="-397"/>
                      <a:pt x="928696" y="-397"/>
                      <a:pt x="932443" y="102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F805D26C-BC6E-4326-9990-0E2CEC1B4B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938" y="2692400"/>
                <a:ext cx="1257300" cy="1049338"/>
              </a:xfrm>
              <a:custGeom>
                <a:avLst/>
                <a:gdLst>
                  <a:gd name="connsiteX0" fmla="*/ 1202365 w 1257300"/>
                  <a:gd name="connsiteY0" fmla="*/ 890162 h 1049338"/>
                  <a:gd name="connsiteX1" fmla="*/ 1194553 w 1257300"/>
                  <a:gd name="connsiteY1" fmla="*/ 893290 h 1049338"/>
                  <a:gd name="connsiteX2" fmla="*/ 1188871 w 1257300"/>
                  <a:gd name="connsiteY2" fmla="*/ 899010 h 1049338"/>
                  <a:gd name="connsiteX3" fmla="*/ 1131345 w 1257300"/>
                  <a:gd name="connsiteY3" fmla="*/ 956209 h 1049338"/>
                  <a:gd name="connsiteX4" fmla="*/ 1099386 w 1257300"/>
                  <a:gd name="connsiteY4" fmla="*/ 929754 h 1049338"/>
                  <a:gd name="connsiteX5" fmla="*/ 1083761 w 1257300"/>
                  <a:gd name="connsiteY5" fmla="*/ 931184 h 1049338"/>
                  <a:gd name="connsiteX6" fmla="*/ 1085182 w 1257300"/>
                  <a:gd name="connsiteY6" fmla="*/ 947629 h 1049338"/>
                  <a:gd name="connsiteX7" fmla="*/ 1124953 w 1257300"/>
                  <a:gd name="connsiteY7" fmla="*/ 979803 h 1049338"/>
                  <a:gd name="connsiteX8" fmla="*/ 1132055 w 1257300"/>
                  <a:gd name="connsiteY8" fmla="*/ 982663 h 1049338"/>
                  <a:gd name="connsiteX9" fmla="*/ 1139157 w 1257300"/>
                  <a:gd name="connsiteY9" fmla="*/ 979088 h 1049338"/>
                  <a:gd name="connsiteX10" fmla="*/ 1210177 w 1257300"/>
                  <a:gd name="connsiteY10" fmla="*/ 909735 h 1049338"/>
                  <a:gd name="connsiteX11" fmla="*/ 1212308 w 1257300"/>
                  <a:gd name="connsiteY11" fmla="*/ 896150 h 1049338"/>
                  <a:gd name="connsiteX12" fmla="*/ 1210177 w 1257300"/>
                  <a:gd name="connsiteY12" fmla="*/ 894005 h 1049338"/>
                  <a:gd name="connsiteX13" fmla="*/ 1202365 w 1257300"/>
                  <a:gd name="connsiteY13" fmla="*/ 890162 h 1049338"/>
                  <a:gd name="connsiteX14" fmla="*/ 111919 w 1257300"/>
                  <a:gd name="connsiteY14" fmla="*/ 877406 h 1049338"/>
                  <a:gd name="connsiteX15" fmla="*/ 111210 w 1257300"/>
                  <a:gd name="connsiteY15" fmla="*/ 893816 h 1049338"/>
                  <a:gd name="connsiteX16" fmla="*/ 140963 w 1257300"/>
                  <a:gd name="connsiteY16" fmla="*/ 927350 h 1049338"/>
                  <a:gd name="connsiteX17" fmla="*/ 57372 w 1257300"/>
                  <a:gd name="connsiteY17" fmla="*/ 927350 h 1049338"/>
                  <a:gd name="connsiteX18" fmla="*/ 46037 w 1257300"/>
                  <a:gd name="connsiteY18" fmla="*/ 938766 h 1049338"/>
                  <a:gd name="connsiteX19" fmla="*/ 57372 w 1257300"/>
                  <a:gd name="connsiteY19" fmla="*/ 950181 h 1049338"/>
                  <a:gd name="connsiteX20" fmla="*/ 140255 w 1257300"/>
                  <a:gd name="connsiteY20" fmla="*/ 950181 h 1049338"/>
                  <a:gd name="connsiteX21" fmla="*/ 111210 w 1257300"/>
                  <a:gd name="connsiteY21" fmla="*/ 980861 h 1049338"/>
                  <a:gd name="connsiteX22" fmla="*/ 111919 w 1257300"/>
                  <a:gd name="connsiteY22" fmla="*/ 997271 h 1049338"/>
                  <a:gd name="connsiteX23" fmla="*/ 119711 w 1257300"/>
                  <a:gd name="connsiteY23" fmla="*/ 1000125 h 1049338"/>
                  <a:gd name="connsiteX24" fmla="*/ 128212 w 1257300"/>
                  <a:gd name="connsiteY24" fmla="*/ 996558 h 1049338"/>
                  <a:gd name="connsiteX25" fmla="*/ 174258 w 1257300"/>
                  <a:gd name="connsiteY25" fmla="*/ 946614 h 1049338"/>
                  <a:gd name="connsiteX26" fmla="*/ 174967 w 1257300"/>
                  <a:gd name="connsiteY26" fmla="*/ 946614 h 1049338"/>
                  <a:gd name="connsiteX27" fmla="*/ 175675 w 1257300"/>
                  <a:gd name="connsiteY27" fmla="*/ 945187 h 1049338"/>
                  <a:gd name="connsiteX28" fmla="*/ 176383 w 1257300"/>
                  <a:gd name="connsiteY28" fmla="*/ 944473 h 1049338"/>
                  <a:gd name="connsiteX29" fmla="*/ 176383 w 1257300"/>
                  <a:gd name="connsiteY29" fmla="*/ 943760 h 1049338"/>
                  <a:gd name="connsiteX30" fmla="*/ 177092 w 1257300"/>
                  <a:gd name="connsiteY30" fmla="*/ 943046 h 1049338"/>
                  <a:gd name="connsiteX31" fmla="*/ 177092 w 1257300"/>
                  <a:gd name="connsiteY31" fmla="*/ 942333 h 1049338"/>
                  <a:gd name="connsiteX32" fmla="*/ 177092 w 1257300"/>
                  <a:gd name="connsiteY32" fmla="*/ 940906 h 1049338"/>
                  <a:gd name="connsiteX33" fmla="*/ 177800 w 1257300"/>
                  <a:gd name="connsiteY33" fmla="*/ 940906 h 1049338"/>
                  <a:gd name="connsiteX34" fmla="*/ 177800 w 1257300"/>
                  <a:gd name="connsiteY34" fmla="*/ 938766 h 1049338"/>
                  <a:gd name="connsiteX35" fmla="*/ 177800 w 1257300"/>
                  <a:gd name="connsiteY35" fmla="*/ 938052 h 1049338"/>
                  <a:gd name="connsiteX36" fmla="*/ 177800 w 1257300"/>
                  <a:gd name="connsiteY36" fmla="*/ 936625 h 1049338"/>
                  <a:gd name="connsiteX37" fmla="*/ 177092 w 1257300"/>
                  <a:gd name="connsiteY37" fmla="*/ 935912 h 1049338"/>
                  <a:gd name="connsiteX38" fmla="*/ 177092 w 1257300"/>
                  <a:gd name="connsiteY38" fmla="*/ 934485 h 1049338"/>
                  <a:gd name="connsiteX39" fmla="*/ 176383 w 1257300"/>
                  <a:gd name="connsiteY39" fmla="*/ 934485 h 1049338"/>
                  <a:gd name="connsiteX40" fmla="*/ 175675 w 1257300"/>
                  <a:gd name="connsiteY40" fmla="*/ 932344 h 1049338"/>
                  <a:gd name="connsiteX41" fmla="*/ 174967 w 1257300"/>
                  <a:gd name="connsiteY41" fmla="*/ 930917 h 1049338"/>
                  <a:gd name="connsiteX42" fmla="*/ 128212 w 1257300"/>
                  <a:gd name="connsiteY42" fmla="*/ 878120 h 1049338"/>
                  <a:gd name="connsiteX43" fmla="*/ 111919 w 1257300"/>
                  <a:gd name="connsiteY43" fmla="*/ 877406 h 1049338"/>
                  <a:gd name="connsiteX44" fmla="*/ 1146614 w 1257300"/>
                  <a:gd name="connsiteY44" fmla="*/ 825500 h 1049338"/>
                  <a:gd name="connsiteX45" fmla="*/ 1197700 w 1257300"/>
                  <a:gd name="connsiteY45" fmla="*/ 838363 h 1049338"/>
                  <a:gd name="connsiteX46" fmla="*/ 1224662 w 1257300"/>
                  <a:gd name="connsiteY46" fmla="*/ 857658 h 1049338"/>
                  <a:gd name="connsiteX47" fmla="*/ 1257300 w 1257300"/>
                  <a:gd name="connsiteY47" fmla="*/ 936982 h 1049338"/>
                  <a:gd name="connsiteX48" fmla="*/ 1146614 w 1257300"/>
                  <a:gd name="connsiteY48" fmla="*/ 1047750 h 1049338"/>
                  <a:gd name="connsiteX49" fmla="*/ 1036637 w 1257300"/>
                  <a:gd name="connsiteY49" fmla="*/ 936268 h 1049338"/>
                  <a:gd name="connsiteX50" fmla="*/ 1146614 w 1257300"/>
                  <a:gd name="connsiteY50" fmla="*/ 825500 h 1049338"/>
                  <a:gd name="connsiteX51" fmla="*/ 111919 w 1257300"/>
                  <a:gd name="connsiteY51" fmla="*/ 825500 h 1049338"/>
                  <a:gd name="connsiteX52" fmla="*/ 223838 w 1257300"/>
                  <a:gd name="connsiteY52" fmla="*/ 937777 h 1049338"/>
                  <a:gd name="connsiteX53" fmla="*/ 179358 w 1257300"/>
                  <a:gd name="connsiteY53" fmla="*/ 1026454 h 1049338"/>
                  <a:gd name="connsiteX54" fmla="*/ 151378 w 1257300"/>
                  <a:gd name="connsiteY54" fmla="*/ 1042187 h 1049338"/>
                  <a:gd name="connsiteX55" fmla="*/ 111919 w 1257300"/>
                  <a:gd name="connsiteY55" fmla="*/ 1049338 h 1049338"/>
                  <a:gd name="connsiteX56" fmla="*/ 0 w 1257300"/>
                  <a:gd name="connsiteY56" fmla="*/ 937062 h 1049338"/>
                  <a:gd name="connsiteX57" fmla="*/ 111919 w 1257300"/>
                  <a:gd name="connsiteY57" fmla="*/ 825500 h 1049338"/>
                  <a:gd name="connsiteX58" fmla="*/ 582076 w 1257300"/>
                  <a:gd name="connsiteY58" fmla="*/ 64618 h 1049338"/>
                  <a:gd name="connsiteX59" fmla="*/ 582076 w 1257300"/>
                  <a:gd name="connsiteY59" fmla="*/ 81074 h 1049338"/>
                  <a:gd name="connsiteX60" fmla="*/ 590528 w 1257300"/>
                  <a:gd name="connsiteY60" fmla="*/ 89660 h 1049338"/>
                  <a:gd name="connsiteX61" fmla="*/ 611657 w 1257300"/>
                  <a:gd name="connsiteY61" fmla="*/ 111841 h 1049338"/>
                  <a:gd name="connsiteX62" fmla="*/ 603206 w 1257300"/>
                  <a:gd name="connsiteY62" fmla="*/ 120427 h 1049338"/>
                  <a:gd name="connsiteX63" fmla="*/ 582076 w 1257300"/>
                  <a:gd name="connsiteY63" fmla="*/ 142607 h 1049338"/>
                  <a:gd name="connsiteX64" fmla="*/ 582076 w 1257300"/>
                  <a:gd name="connsiteY64" fmla="*/ 159063 h 1049338"/>
                  <a:gd name="connsiteX65" fmla="*/ 589824 w 1257300"/>
                  <a:gd name="connsiteY65" fmla="*/ 161925 h 1049338"/>
                  <a:gd name="connsiteX66" fmla="*/ 598275 w 1257300"/>
                  <a:gd name="connsiteY66" fmla="*/ 159063 h 1049338"/>
                  <a:gd name="connsiteX67" fmla="*/ 627857 w 1257300"/>
                  <a:gd name="connsiteY67" fmla="*/ 128297 h 1049338"/>
                  <a:gd name="connsiteX68" fmla="*/ 657438 w 1257300"/>
                  <a:gd name="connsiteY68" fmla="*/ 159063 h 1049338"/>
                  <a:gd name="connsiteX69" fmla="*/ 665890 w 1257300"/>
                  <a:gd name="connsiteY69" fmla="*/ 161925 h 1049338"/>
                  <a:gd name="connsiteX70" fmla="*/ 673637 w 1257300"/>
                  <a:gd name="connsiteY70" fmla="*/ 159063 h 1049338"/>
                  <a:gd name="connsiteX71" fmla="*/ 673637 w 1257300"/>
                  <a:gd name="connsiteY71" fmla="*/ 142607 h 1049338"/>
                  <a:gd name="connsiteX72" fmla="*/ 644056 w 1257300"/>
                  <a:gd name="connsiteY72" fmla="*/ 111841 h 1049338"/>
                  <a:gd name="connsiteX73" fmla="*/ 673637 w 1257300"/>
                  <a:gd name="connsiteY73" fmla="*/ 81074 h 1049338"/>
                  <a:gd name="connsiteX74" fmla="*/ 673637 w 1257300"/>
                  <a:gd name="connsiteY74" fmla="*/ 64618 h 1049338"/>
                  <a:gd name="connsiteX75" fmla="*/ 657438 w 1257300"/>
                  <a:gd name="connsiteY75" fmla="*/ 64618 h 1049338"/>
                  <a:gd name="connsiteX76" fmla="*/ 627857 w 1257300"/>
                  <a:gd name="connsiteY76" fmla="*/ 95384 h 1049338"/>
                  <a:gd name="connsiteX77" fmla="*/ 598275 w 1257300"/>
                  <a:gd name="connsiteY77" fmla="*/ 64618 h 1049338"/>
                  <a:gd name="connsiteX78" fmla="*/ 582076 w 1257300"/>
                  <a:gd name="connsiteY78" fmla="*/ 64618 h 1049338"/>
                  <a:gd name="connsiteX79" fmla="*/ 627856 w 1257300"/>
                  <a:gd name="connsiteY79" fmla="*/ 0 h 1049338"/>
                  <a:gd name="connsiteX80" fmla="*/ 739775 w 1257300"/>
                  <a:gd name="connsiteY80" fmla="*/ 111562 h 1049338"/>
                  <a:gd name="connsiteX81" fmla="*/ 627856 w 1257300"/>
                  <a:gd name="connsiteY81" fmla="*/ 223838 h 1049338"/>
                  <a:gd name="connsiteX82" fmla="*/ 518076 w 1257300"/>
                  <a:gd name="connsiteY82" fmla="*/ 133016 h 1049338"/>
                  <a:gd name="connsiteX83" fmla="*/ 515937 w 1257300"/>
                  <a:gd name="connsiteY83" fmla="*/ 110846 h 1049338"/>
                  <a:gd name="connsiteX84" fmla="*/ 516650 w 1257300"/>
                  <a:gd name="connsiteY84" fmla="*/ 100119 h 1049338"/>
                  <a:gd name="connsiteX85" fmla="*/ 627856 w 1257300"/>
                  <a:gd name="connsiteY85" fmla="*/ 0 h 1049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257300" h="1049338">
                    <a:moveTo>
                      <a:pt x="1202365" y="890162"/>
                    </a:moveTo>
                    <a:cubicBezTo>
                      <a:pt x="1199524" y="890073"/>
                      <a:pt x="1196684" y="891145"/>
                      <a:pt x="1194553" y="893290"/>
                    </a:cubicBezTo>
                    <a:cubicBezTo>
                      <a:pt x="1194553" y="893290"/>
                      <a:pt x="1194553" y="893290"/>
                      <a:pt x="1188871" y="899010"/>
                    </a:cubicBezTo>
                    <a:cubicBezTo>
                      <a:pt x="1188871" y="899010"/>
                      <a:pt x="1188871" y="899010"/>
                      <a:pt x="1131345" y="956209"/>
                    </a:cubicBezTo>
                    <a:cubicBezTo>
                      <a:pt x="1131345" y="956209"/>
                      <a:pt x="1131345" y="956209"/>
                      <a:pt x="1099386" y="929754"/>
                    </a:cubicBezTo>
                    <a:cubicBezTo>
                      <a:pt x="1094414" y="925464"/>
                      <a:pt x="1087312" y="926179"/>
                      <a:pt x="1083761" y="931184"/>
                    </a:cubicBezTo>
                    <a:cubicBezTo>
                      <a:pt x="1079500" y="936189"/>
                      <a:pt x="1080210" y="943339"/>
                      <a:pt x="1085182" y="947629"/>
                    </a:cubicBezTo>
                    <a:cubicBezTo>
                      <a:pt x="1085182" y="947629"/>
                      <a:pt x="1085182" y="947629"/>
                      <a:pt x="1124953" y="979803"/>
                    </a:cubicBezTo>
                    <a:cubicBezTo>
                      <a:pt x="1127084" y="981233"/>
                      <a:pt x="1129214" y="982663"/>
                      <a:pt x="1132055" y="982663"/>
                    </a:cubicBezTo>
                    <a:cubicBezTo>
                      <a:pt x="1134186" y="982663"/>
                      <a:pt x="1137026" y="981233"/>
                      <a:pt x="1139157" y="979088"/>
                    </a:cubicBezTo>
                    <a:cubicBezTo>
                      <a:pt x="1139157" y="979088"/>
                      <a:pt x="1139157" y="979088"/>
                      <a:pt x="1210177" y="909735"/>
                    </a:cubicBezTo>
                    <a:cubicBezTo>
                      <a:pt x="1213728" y="906160"/>
                      <a:pt x="1214438" y="900440"/>
                      <a:pt x="1212308" y="896150"/>
                    </a:cubicBezTo>
                    <a:cubicBezTo>
                      <a:pt x="1211597" y="895435"/>
                      <a:pt x="1210887" y="894720"/>
                      <a:pt x="1210177" y="894005"/>
                    </a:cubicBezTo>
                    <a:cubicBezTo>
                      <a:pt x="1208047" y="891503"/>
                      <a:pt x="1205206" y="890251"/>
                      <a:pt x="1202365" y="890162"/>
                    </a:cubicBezTo>
                    <a:close/>
                    <a:moveTo>
                      <a:pt x="111919" y="877406"/>
                    </a:moveTo>
                    <a:cubicBezTo>
                      <a:pt x="107668" y="881687"/>
                      <a:pt x="106960" y="888822"/>
                      <a:pt x="111210" y="893816"/>
                    </a:cubicBezTo>
                    <a:cubicBezTo>
                      <a:pt x="111210" y="893816"/>
                      <a:pt x="111210" y="893816"/>
                      <a:pt x="140963" y="927350"/>
                    </a:cubicBezTo>
                    <a:cubicBezTo>
                      <a:pt x="140963" y="927350"/>
                      <a:pt x="140963" y="927350"/>
                      <a:pt x="57372" y="927350"/>
                    </a:cubicBezTo>
                    <a:cubicBezTo>
                      <a:pt x="50996" y="927350"/>
                      <a:pt x="46037" y="932344"/>
                      <a:pt x="46037" y="938766"/>
                    </a:cubicBezTo>
                    <a:cubicBezTo>
                      <a:pt x="46037" y="945187"/>
                      <a:pt x="50996" y="950181"/>
                      <a:pt x="57372" y="950181"/>
                    </a:cubicBezTo>
                    <a:cubicBezTo>
                      <a:pt x="57372" y="950181"/>
                      <a:pt x="57372" y="950181"/>
                      <a:pt x="140255" y="950181"/>
                    </a:cubicBezTo>
                    <a:cubicBezTo>
                      <a:pt x="140255" y="950181"/>
                      <a:pt x="140255" y="950181"/>
                      <a:pt x="111210" y="980861"/>
                    </a:cubicBezTo>
                    <a:cubicBezTo>
                      <a:pt x="106960" y="985142"/>
                      <a:pt x="106960" y="992990"/>
                      <a:pt x="111919" y="997271"/>
                    </a:cubicBezTo>
                    <a:cubicBezTo>
                      <a:pt x="114044" y="999412"/>
                      <a:pt x="116878" y="1000125"/>
                      <a:pt x="119711" y="1000125"/>
                    </a:cubicBezTo>
                    <a:cubicBezTo>
                      <a:pt x="122545" y="1000125"/>
                      <a:pt x="125378" y="998698"/>
                      <a:pt x="128212" y="996558"/>
                    </a:cubicBezTo>
                    <a:cubicBezTo>
                      <a:pt x="128212" y="996558"/>
                      <a:pt x="128212" y="996558"/>
                      <a:pt x="174258" y="946614"/>
                    </a:cubicBezTo>
                    <a:cubicBezTo>
                      <a:pt x="174967" y="946614"/>
                      <a:pt x="174967" y="946614"/>
                      <a:pt x="174967" y="946614"/>
                    </a:cubicBezTo>
                    <a:cubicBezTo>
                      <a:pt x="174967" y="945900"/>
                      <a:pt x="175675" y="945900"/>
                      <a:pt x="175675" y="945187"/>
                    </a:cubicBezTo>
                    <a:cubicBezTo>
                      <a:pt x="175675" y="945187"/>
                      <a:pt x="175675" y="945187"/>
                      <a:pt x="176383" y="944473"/>
                    </a:cubicBezTo>
                    <a:cubicBezTo>
                      <a:pt x="176383" y="944473"/>
                      <a:pt x="176383" y="944473"/>
                      <a:pt x="176383" y="943760"/>
                    </a:cubicBezTo>
                    <a:cubicBezTo>
                      <a:pt x="177092" y="943760"/>
                      <a:pt x="177092" y="943046"/>
                      <a:pt x="177092" y="943046"/>
                    </a:cubicBezTo>
                    <a:cubicBezTo>
                      <a:pt x="177092" y="943046"/>
                      <a:pt x="177092" y="943046"/>
                      <a:pt x="177092" y="942333"/>
                    </a:cubicBezTo>
                    <a:cubicBezTo>
                      <a:pt x="177092" y="942333"/>
                      <a:pt x="177092" y="941620"/>
                      <a:pt x="177092" y="940906"/>
                    </a:cubicBezTo>
                    <a:cubicBezTo>
                      <a:pt x="177800" y="940906"/>
                      <a:pt x="177800" y="940906"/>
                      <a:pt x="177800" y="940906"/>
                    </a:cubicBezTo>
                    <a:cubicBezTo>
                      <a:pt x="177800" y="940193"/>
                      <a:pt x="177800" y="939479"/>
                      <a:pt x="177800" y="938766"/>
                    </a:cubicBezTo>
                    <a:cubicBezTo>
                      <a:pt x="177800" y="938766"/>
                      <a:pt x="177800" y="938766"/>
                      <a:pt x="177800" y="938052"/>
                    </a:cubicBezTo>
                    <a:cubicBezTo>
                      <a:pt x="177800" y="938052"/>
                      <a:pt x="177800" y="937339"/>
                      <a:pt x="177800" y="936625"/>
                    </a:cubicBezTo>
                    <a:cubicBezTo>
                      <a:pt x="177092" y="936625"/>
                      <a:pt x="177092" y="936625"/>
                      <a:pt x="177092" y="935912"/>
                    </a:cubicBezTo>
                    <a:cubicBezTo>
                      <a:pt x="177092" y="935912"/>
                      <a:pt x="177092" y="935198"/>
                      <a:pt x="177092" y="934485"/>
                    </a:cubicBezTo>
                    <a:cubicBezTo>
                      <a:pt x="177092" y="934485"/>
                      <a:pt x="177092" y="934485"/>
                      <a:pt x="176383" y="934485"/>
                    </a:cubicBezTo>
                    <a:cubicBezTo>
                      <a:pt x="176383" y="933771"/>
                      <a:pt x="176383" y="933058"/>
                      <a:pt x="175675" y="932344"/>
                    </a:cubicBezTo>
                    <a:cubicBezTo>
                      <a:pt x="174967" y="931631"/>
                      <a:pt x="174967" y="931631"/>
                      <a:pt x="174967" y="930917"/>
                    </a:cubicBezTo>
                    <a:cubicBezTo>
                      <a:pt x="174967" y="930917"/>
                      <a:pt x="174967" y="930917"/>
                      <a:pt x="128212" y="878120"/>
                    </a:cubicBezTo>
                    <a:cubicBezTo>
                      <a:pt x="123962" y="873839"/>
                      <a:pt x="116878" y="873125"/>
                      <a:pt x="111919" y="877406"/>
                    </a:cubicBezTo>
                    <a:close/>
                    <a:moveTo>
                      <a:pt x="1146614" y="825500"/>
                    </a:moveTo>
                    <a:cubicBezTo>
                      <a:pt x="1165062" y="825500"/>
                      <a:pt x="1182800" y="829788"/>
                      <a:pt x="1197700" y="838363"/>
                    </a:cubicBezTo>
                    <a:cubicBezTo>
                      <a:pt x="1207633" y="843366"/>
                      <a:pt x="1216857" y="849798"/>
                      <a:pt x="1224662" y="857658"/>
                    </a:cubicBezTo>
                    <a:cubicBezTo>
                      <a:pt x="1245238" y="878383"/>
                      <a:pt x="1257300" y="906253"/>
                      <a:pt x="1257300" y="936982"/>
                    </a:cubicBezTo>
                    <a:cubicBezTo>
                      <a:pt x="1257300" y="997726"/>
                      <a:pt x="1207633" y="1047750"/>
                      <a:pt x="1146614" y="1047750"/>
                    </a:cubicBezTo>
                    <a:cubicBezTo>
                      <a:pt x="1086304" y="1047750"/>
                      <a:pt x="1036637" y="997726"/>
                      <a:pt x="1036637" y="936268"/>
                    </a:cubicBezTo>
                    <a:cubicBezTo>
                      <a:pt x="1036637" y="874810"/>
                      <a:pt x="1086304" y="825500"/>
                      <a:pt x="1146614" y="825500"/>
                    </a:cubicBezTo>
                    <a:close/>
                    <a:moveTo>
                      <a:pt x="111919" y="825500"/>
                    </a:moveTo>
                    <a:cubicBezTo>
                      <a:pt x="173618" y="825500"/>
                      <a:pt x="223838" y="875560"/>
                      <a:pt x="223838" y="937777"/>
                    </a:cubicBezTo>
                    <a:cubicBezTo>
                      <a:pt x="223838" y="974249"/>
                      <a:pt x="205903" y="1006430"/>
                      <a:pt x="179358" y="1026454"/>
                    </a:cubicBezTo>
                    <a:cubicBezTo>
                      <a:pt x="170748" y="1032890"/>
                      <a:pt x="161422" y="1037896"/>
                      <a:pt x="151378" y="1042187"/>
                    </a:cubicBezTo>
                    <a:cubicBezTo>
                      <a:pt x="139182" y="1046478"/>
                      <a:pt x="125550" y="1049338"/>
                      <a:pt x="111919" y="1049338"/>
                    </a:cubicBezTo>
                    <a:cubicBezTo>
                      <a:pt x="50220" y="1049338"/>
                      <a:pt x="0" y="999279"/>
                      <a:pt x="0" y="937062"/>
                    </a:cubicBezTo>
                    <a:cubicBezTo>
                      <a:pt x="0" y="874845"/>
                      <a:pt x="50220" y="825500"/>
                      <a:pt x="111919" y="825500"/>
                    </a:cubicBezTo>
                    <a:close/>
                    <a:moveTo>
                      <a:pt x="582076" y="64618"/>
                    </a:moveTo>
                    <a:cubicBezTo>
                      <a:pt x="577850" y="69627"/>
                      <a:pt x="577850" y="76781"/>
                      <a:pt x="582076" y="81074"/>
                    </a:cubicBezTo>
                    <a:cubicBezTo>
                      <a:pt x="582076" y="81074"/>
                      <a:pt x="582076" y="81074"/>
                      <a:pt x="590528" y="89660"/>
                    </a:cubicBezTo>
                    <a:cubicBezTo>
                      <a:pt x="590528" y="89660"/>
                      <a:pt x="590528" y="89660"/>
                      <a:pt x="611657" y="111841"/>
                    </a:cubicBezTo>
                    <a:cubicBezTo>
                      <a:pt x="611657" y="111841"/>
                      <a:pt x="611657" y="111841"/>
                      <a:pt x="603206" y="120427"/>
                    </a:cubicBezTo>
                    <a:cubicBezTo>
                      <a:pt x="603206" y="120427"/>
                      <a:pt x="603206" y="120427"/>
                      <a:pt x="582076" y="142607"/>
                    </a:cubicBezTo>
                    <a:cubicBezTo>
                      <a:pt x="577850" y="146900"/>
                      <a:pt x="577850" y="154055"/>
                      <a:pt x="582076" y="159063"/>
                    </a:cubicBezTo>
                    <a:cubicBezTo>
                      <a:pt x="584189" y="161210"/>
                      <a:pt x="587006" y="161925"/>
                      <a:pt x="589824" y="161925"/>
                    </a:cubicBezTo>
                    <a:cubicBezTo>
                      <a:pt x="592641" y="161925"/>
                      <a:pt x="595458" y="161210"/>
                      <a:pt x="598275" y="159063"/>
                    </a:cubicBezTo>
                    <a:cubicBezTo>
                      <a:pt x="598275" y="159063"/>
                      <a:pt x="598275" y="159063"/>
                      <a:pt x="627857" y="128297"/>
                    </a:cubicBezTo>
                    <a:cubicBezTo>
                      <a:pt x="627857" y="128297"/>
                      <a:pt x="627857" y="128297"/>
                      <a:pt x="657438" y="159063"/>
                    </a:cubicBezTo>
                    <a:cubicBezTo>
                      <a:pt x="660255" y="161210"/>
                      <a:pt x="663073" y="161925"/>
                      <a:pt x="665890" y="161925"/>
                    </a:cubicBezTo>
                    <a:cubicBezTo>
                      <a:pt x="668707" y="161925"/>
                      <a:pt x="671524" y="161210"/>
                      <a:pt x="673637" y="159063"/>
                    </a:cubicBezTo>
                    <a:cubicBezTo>
                      <a:pt x="677863" y="154055"/>
                      <a:pt x="677863" y="146900"/>
                      <a:pt x="673637" y="142607"/>
                    </a:cubicBezTo>
                    <a:cubicBezTo>
                      <a:pt x="673637" y="142607"/>
                      <a:pt x="673637" y="142607"/>
                      <a:pt x="644056" y="111841"/>
                    </a:cubicBezTo>
                    <a:cubicBezTo>
                      <a:pt x="644056" y="111841"/>
                      <a:pt x="644056" y="111841"/>
                      <a:pt x="673637" y="81074"/>
                    </a:cubicBezTo>
                    <a:cubicBezTo>
                      <a:pt x="677863" y="76781"/>
                      <a:pt x="677863" y="69627"/>
                      <a:pt x="673637" y="64618"/>
                    </a:cubicBezTo>
                    <a:cubicBezTo>
                      <a:pt x="669411" y="60325"/>
                      <a:pt x="662368" y="60325"/>
                      <a:pt x="657438" y="64618"/>
                    </a:cubicBezTo>
                    <a:cubicBezTo>
                      <a:pt x="657438" y="64618"/>
                      <a:pt x="657438" y="64618"/>
                      <a:pt x="627857" y="95384"/>
                    </a:cubicBezTo>
                    <a:cubicBezTo>
                      <a:pt x="627857" y="95384"/>
                      <a:pt x="627857" y="95384"/>
                      <a:pt x="598275" y="64618"/>
                    </a:cubicBezTo>
                    <a:cubicBezTo>
                      <a:pt x="593345" y="60325"/>
                      <a:pt x="586302" y="60325"/>
                      <a:pt x="582076" y="64618"/>
                    </a:cubicBezTo>
                    <a:close/>
                    <a:moveTo>
                      <a:pt x="627856" y="0"/>
                    </a:moveTo>
                    <a:cubicBezTo>
                      <a:pt x="689875" y="0"/>
                      <a:pt x="739775" y="50060"/>
                      <a:pt x="739775" y="111562"/>
                    </a:cubicBezTo>
                    <a:cubicBezTo>
                      <a:pt x="739775" y="173779"/>
                      <a:pt x="689875" y="223838"/>
                      <a:pt x="627856" y="223838"/>
                    </a:cubicBezTo>
                    <a:cubicBezTo>
                      <a:pt x="573679" y="223123"/>
                      <a:pt x="527343" y="184506"/>
                      <a:pt x="518076" y="133016"/>
                    </a:cubicBezTo>
                    <a:cubicBezTo>
                      <a:pt x="516650" y="125149"/>
                      <a:pt x="515937" y="117998"/>
                      <a:pt x="515937" y="110846"/>
                    </a:cubicBezTo>
                    <a:cubicBezTo>
                      <a:pt x="515937" y="107271"/>
                      <a:pt x="515937" y="103695"/>
                      <a:pt x="516650" y="100119"/>
                    </a:cubicBezTo>
                    <a:cubicBezTo>
                      <a:pt x="521640" y="43624"/>
                      <a:pt x="570115" y="0"/>
                      <a:pt x="6278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A36F0395-3FF7-4BF3-93D8-BBC58743521C}"/>
              </a:ext>
            </a:extLst>
          </p:cNvPr>
          <p:cNvSpPr txBox="1">
            <a:spLocks/>
          </p:cNvSpPr>
          <p:nvPr/>
        </p:nvSpPr>
        <p:spPr>
          <a:xfrm>
            <a:off x="1485658" y="3446347"/>
            <a:ext cx="1710551" cy="22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Rotating assignment</a:t>
            </a:r>
            <a:endParaRPr lang="en-US">
              <a:cs typeface="Arial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C755968-1D2E-4767-8263-3B657EBE9A19}"/>
              </a:ext>
            </a:extLst>
          </p:cNvPr>
          <p:cNvGrpSpPr>
            <a:grpSpLocks noChangeAspect="1"/>
          </p:cNvGrpSpPr>
          <p:nvPr/>
        </p:nvGrpSpPr>
        <p:grpSpPr>
          <a:xfrm>
            <a:off x="2362170" y="1047884"/>
            <a:ext cx="828492" cy="828492"/>
            <a:chOff x="5272330" y="2605278"/>
            <a:chExt cx="1645920" cy="1645920"/>
          </a:xfrm>
        </p:grpSpPr>
        <p:sp>
          <p:nvSpPr>
            <p:cNvPr id="59" name="AutoShape 3">
              <a:extLst>
                <a:ext uri="{FF2B5EF4-FFF2-40B4-BE49-F238E27FC236}">
                  <a16:creationId xmlns:a16="http://schemas.microsoft.com/office/drawing/2014/main" id="{F0E2322E-F8C5-4F11-946F-BD974032702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330" y="2605278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D5EFA3F3-6B08-4E00-8E16-1AA9AB1D5D2A}"/>
                </a:ext>
              </a:extLst>
            </p:cNvPr>
            <p:cNvGrpSpPr/>
            <p:nvPr/>
          </p:nvGrpSpPr>
          <p:grpSpPr>
            <a:xfrm>
              <a:off x="5424297" y="2880360"/>
              <a:ext cx="1341986" cy="1095756"/>
              <a:chOff x="5424297" y="2880360"/>
              <a:chExt cx="1341986" cy="1095756"/>
            </a:xfrm>
          </p:grpSpPr>
          <p:sp>
            <p:nvSpPr>
              <p:cNvPr id="61" name="Freeform 25">
                <a:extLst>
                  <a:ext uri="{FF2B5EF4-FFF2-40B4-BE49-F238E27FC236}">
                    <a16:creationId xmlns:a16="http://schemas.microsoft.com/office/drawing/2014/main" id="{8F9A96A4-80C4-433E-9817-71D91AED36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297" y="2880360"/>
                <a:ext cx="1082609" cy="826495"/>
              </a:xfrm>
              <a:custGeom>
                <a:avLst/>
                <a:gdLst>
                  <a:gd name="connsiteX0" fmla="*/ 2428875 w 4510872"/>
                  <a:gd name="connsiteY0" fmla="*/ 2511425 h 3443730"/>
                  <a:gd name="connsiteX1" fmla="*/ 2718485 w 4510872"/>
                  <a:gd name="connsiteY1" fmla="*/ 2672626 h 3443730"/>
                  <a:gd name="connsiteX2" fmla="*/ 2748342 w 4510872"/>
                  <a:gd name="connsiteY2" fmla="*/ 2741285 h 3443730"/>
                  <a:gd name="connsiteX3" fmla="*/ 2691614 w 4510872"/>
                  <a:gd name="connsiteY3" fmla="*/ 2786063 h 3443730"/>
                  <a:gd name="connsiteX4" fmla="*/ 2593087 w 4510872"/>
                  <a:gd name="connsiteY4" fmla="*/ 2786063 h 3443730"/>
                  <a:gd name="connsiteX5" fmla="*/ 2428875 w 4510872"/>
                  <a:gd name="connsiteY5" fmla="*/ 2511425 h 3443730"/>
                  <a:gd name="connsiteX6" fmla="*/ 4144539 w 4510872"/>
                  <a:gd name="connsiteY6" fmla="*/ 1955800 h 3443730"/>
                  <a:gd name="connsiteX7" fmla="*/ 4144539 w 4510872"/>
                  <a:gd name="connsiteY7" fmla="*/ 2425578 h 3443730"/>
                  <a:gd name="connsiteX8" fmla="*/ 2425928 w 4510872"/>
                  <a:gd name="connsiteY8" fmla="*/ 2425578 h 3443730"/>
                  <a:gd name="connsiteX9" fmla="*/ 2425928 w 4510872"/>
                  <a:gd name="connsiteY9" fmla="*/ 2493963 h 3443730"/>
                  <a:gd name="connsiteX10" fmla="*/ 2381250 w 4510872"/>
                  <a:gd name="connsiteY10" fmla="*/ 2306647 h 3443730"/>
                  <a:gd name="connsiteX11" fmla="*/ 4144539 w 4510872"/>
                  <a:gd name="connsiteY11" fmla="*/ 2306647 h 3443730"/>
                  <a:gd name="connsiteX12" fmla="*/ 4144539 w 4510872"/>
                  <a:gd name="connsiteY12" fmla="*/ 1955800 h 3443730"/>
                  <a:gd name="connsiteX13" fmla="*/ 3295553 w 4510872"/>
                  <a:gd name="connsiteY13" fmla="*/ 1169783 h 3443730"/>
                  <a:gd name="connsiteX14" fmla="*/ 2569208 w 4510872"/>
                  <a:gd name="connsiteY14" fmla="*/ 1452235 h 3443730"/>
                  <a:gd name="connsiteX15" fmla="*/ 2539439 w 4510872"/>
                  <a:gd name="connsiteY15" fmla="*/ 2893146 h 3443730"/>
                  <a:gd name="connsiteX16" fmla="*/ 3899849 w 4510872"/>
                  <a:gd name="connsiteY16" fmla="*/ 2997344 h 3443730"/>
                  <a:gd name="connsiteX17" fmla="*/ 3986177 w 4510872"/>
                  <a:gd name="connsiteY17" fmla="*/ 2922917 h 3443730"/>
                  <a:gd name="connsiteX18" fmla="*/ 4069528 w 4510872"/>
                  <a:gd name="connsiteY18" fmla="*/ 2827650 h 3443730"/>
                  <a:gd name="connsiteX19" fmla="*/ 4012968 w 4510872"/>
                  <a:gd name="connsiteY19" fmla="*/ 1479028 h 3443730"/>
                  <a:gd name="connsiteX20" fmla="*/ 3295553 w 4510872"/>
                  <a:gd name="connsiteY20" fmla="*/ 1169783 h 3443730"/>
                  <a:gd name="connsiteX21" fmla="*/ 3299874 w 4510872"/>
                  <a:gd name="connsiteY21" fmla="*/ 1025826 h 3443730"/>
                  <a:gd name="connsiteX22" fmla="*/ 4117875 w 4510872"/>
                  <a:gd name="connsiteY22" fmla="*/ 1381236 h 3443730"/>
                  <a:gd name="connsiteX23" fmla="*/ 4225056 w 4510872"/>
                  <a:gd name="connsiteY23" fmla="*/ 2863910 h 3443730"/>
                  <a:gd name="connsiteX24" fmla="*/ 4501941 w 4510872"/>
                  <a:gd name="connsiteY24" fmla="*/ 3149726 h 3443730"/>
                  <a:gd name="connsiteX25" fmla="*/ 4501941 w 4510872"/>
                  <a:gd name="connsiteY25" fmla="*/ 3194385 h 3443730"/>
                  <a:gd name="connsiteX26" fmla="*/ 4248875 w 4510872"/>
                  <a:gd name="connsiteY26" fmla="*/ 3432566 h 3443730"/>
                  <a:gd name="connsiteX27" fmla="*/ 4204216 w 4510872"/>
                  <a:gd name="connsiteY27" fmla="*/ 3432566 h 3443730"/>
                  <a:gd name="connsiteX28" fmla="*/ 3933285 w 4510872"/>
                  <a:gd name="connsiteY28" fmla="*/ 3152703 h 3443730"/>
                  <a:gd name="connsiteX29" fmla="*/ 2435726 w 4510872"/>
                  <a:gd name="connsiteY29" fmla="*/ 2997886 h 3443730"/>
                  <a:gd name="connsiteX30" fmla="*/ 2468475 w 4510872"/>
                  <a:gd name="connsiteY30" fmla="*/ 1351464 h 3443730"/>
                  <a:gd name="connsiteX31" fmla="*/ 3299874 w 4510872"/>
                  <a:gd name="connsiteY31" fmla="*/ 1025826 h 3443730"/>
                  <a:gd name="connsiteX32" fmla="*/ 59531 w 4510872"/>
                  <a:gd name="connsiteY32" fmla="*/ 0 h 3443730"/>
                  <a:gd name="connsiteX33" fmla="*/ 4202907 w 4510872"/>
                  <a:gd name="connsiteY33" fmla="*/ 0 h 3443730"/>
                  <a:gd name="connsiteX34" fmla="*/ 4262438 w 4510872"/>
                  <a:gd name="connsiteY34" fmla="*/ 59531 h 3443730"/>
                  <a:gd name="connsiteX35" fmla="*/ 4262438 w 4510872"/>
                  <a:gd name="connsiteY35" fmla="*/ 1372196 h 3443730"/>
                  <a:gd name="connsiteX36" fmla="*/ 4199930 w 4510872"/>
                  <a:gd name="connsiteY36" fmla="*/ 1300758 h 3443730"/>
                  <a:gd name="connsiteX37" fmla="*/ 4140399 w 4510872"/>
                  <a:gd name="connsiteY37" fmla="*/ 1244204 h 3443730"/>
                  <a:gd name="connsiteX38" fmla="*/ 4140399 w 4510872"/>
                  <a:gd name="connsiteY38" fmla="*/ 122039 h 3443730"/>
                  <a:gd name="connsiteX39" fmla="*/ 119062 w 4510872"/>
                  <a:gd name="connsiteY39" fmla="*/ 122039 h 3443730"/>
                  <a:gd name="connsiteX40" fmla="*/ 119062 w 4510872"/>
                  <a:gd name="connsiteY40" fmla="*/ 2309813 h 3443730"/>
                  <a:gd name="connsiteX41" fmla="*/ 1896070 w 4510872"/>
                  <a:gd name="connsiteY41" fmla="*/ 2309813 h 3443730"/>
                  <a:gd name="connsiteX42" fmla="*/ 1955602 w 4510872"/>
                  <a:gd name="connsiteY42" fmla="*/ 2369344 h 3443730"/>
                  <a:gd name="connsiteX43" fmla="*/ 1955602 w 4510872"/>
                  <a:gd name="connsiteY43" fmla="*/ 2544962 h 3443730"/>
                  <a:gd name="connsiteX44" fmla="*/ 1925836 w 4510872"/>
                  <a:gd name="connsiteY44" fmla="*/ 2598540 h 3443730"/>
                  <a:gd name="connsiteX45" fmla="*/ 1800820 w 4510872"/>
                  <a:gd name="connsiteY45" fmla="*/ 2664024 h 3443730"/>
                  <a:gd name="connsiteX46" fmla="*/ 2074664 w 4510872"/>
                  <a:gd name="connsiteY46" fmla="*/ 2664024 h 3443730"/>
                  <a:gd name="connsiteX47" fmla="*/ 2131219 w 4510872"/>
                  <a:gd name="connsiteY47" fmla="*/ 2786063 h 3443730"/>
                  <a:gd name="connsiteX48" fmla="*/ 1565672 w 4510872"/>
                  <a:gd name="connsiteY48" fmla="*/ 2786063 h 3443730"/>
                  <a:gd name="connsiteX49" fmla="*/ 1509117 w 4510872"/>
                  <a:gd name="connsiteY49" fmla="*/ 2741415 h 3443730"/>
                  <a:gd name="connsiteX50" fmla="*/ 1538883 w 4510872"/>
                  <a:gd name="connsiteY50" fmla="*/ 2672954 h 3443730"/>
                  <a:gd name="connsiteX51" fmla="*/ 1836539 w 4510872"/>
                  <a:gd name="connsiteY51" fmla="*/ 2509243 h 3443730"/>
                  <a:gd name="connsiteX52" fmla="*/ 1836539 w 4510872"/>
                  <a:gd name="connsiteY52" fmla="*/ 2428876 h 3443730"/>
                  <a:gd name="connsiteX53" fmla="*/ 59531 w 4510872"/>
                  <a:gd name="connsiteY53" fmla="*/ 2428876 h 3443730"/>
                  <a:gd name="connsiteX54" fmla="*/ 0 w 4510872"/>
                  <a:gd name="connsiteY54" fmla="*/ 2369344 h 3443730"/>
                  <a:gd name="connsiteX55" fmla="*/ 0 w 4510872"/>
                  <a:gd name="connsiteY55" fmla="*/ 59531 h 3443730"/>
                  <a:gd name="connsiteX56" fmla="*/ 59531 w 4510872"/>
                  <a:gd name="connsiteY56" fmla="*/ 0 h 3443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4510872" h="3443730">
                    <a:moveTo>
                      <a:pt x="2428875" y="2511425"/>
                    </a:moveTo>
                    <a:cubicBezTo>
                      <a:pt x="2428875" y="2511425"/>
                      <a:pt x="2428875" y="2511425"/>
                      <a:pt x="2718485" y="2672626"/>
                    </a:cubicBezTo>
                    <a:cubicBezTo>
                      <a:pt x="2742371" y="2687552"/>
                      <a:pt x="2754313" y="2714418"/>
                      <a:pt x="2748342" y="2741285"/>
                    </a:cubicBezTo>
                    <a:cubicBezTo>
                      <a:pt x="2742371" y="2768152"/>
                      <a:pt x="2718485" y="2786063"/>
                      <a:pt x="2691614" y="2786063"/>
                    </a:cubicBezTo>
                    <a:cubicBezTo>
                      <a:pt x="2691614" y="2786063"/>
                      <a:pt x="2691614" y="2786063"/>
                      <a:pt x="2593087" y="2786063"/>
                    </a:cubicBezTo>
                    <a:cubicBezTo>
                      <a:pt x="2518445" y="2702478"/>
                      <a:pt x="2464703" y="2609937"/>
                      <a:pt x="2428875" y="2511425"/>
                    </a:cubicBezTo>
                    <a:close/>
                    <a:moveTo>
                      <a:pt x="4144539" y="1955800"/>
                    </a:moveTo>
                    <a:cubicBezTo>
                      <a:pt x="4186238" y="2110410"/>
                      <a:pt x="4186238" y="2270967"/>
                      <a:pt x="4144539" y="2425578"/>
                    </a:cubicBezTo>
                    <a:cubicBezTo>
                      <a:pt x="4144539" y="2425578"/>
                      <a:pt x="4144539" y="2425578"/>
                      <a:pt x="2425928" y="2425578"/>
                    </a:cubicBezTo>
                    <a:cubicBezTo>
                      <a:pt x="2425928" y="2425578"/>
                      <a:pt x="2425928" y="2425578"/>
                      <a:pt x="2425928" y="2493963"/>
                    </a:cubicBezTo>
                    <a:cubicBezTo>
                      <a:pt x="2405078" y="2434498"/>
                      <a:pt x="2390186" y="2372059"/>
                      <a:pt x="2381250" y="2306647"/>
                    </a:cubicBezTo>
                    <a:cubicBezTo>
                      <a:pt x="2381250" y="2306647"/>
                      <a:pt x="2381250" y="2306647"/>
                      <a:pt x="4144539" y="2306647"/>
                    </a:cubicBezTo>
                    <a:cubicBezTo>
                      <a:pt x="4144539" y="2306647"/>
                      <a:pt x="4144539" y="2306647"/>
                      <a:pt x="4144539" y="1955800"/>
                    </a:cubicBezTo>
                    <a:close/>
                    <a:moveTo>
                      <a:pt x="3295553" y="1169783"/>
                    </a:moveTo>
                    <a:cubicBezTo>
                      <a:pt x="3034337" y="1164946"/>
                      <a:pt x="2771632" y="1258724"/>
                      <a:pt x="2569208" y="1452235"/>
                    </a:cubicBezTo>
                    <a:cubicBezTo>
                      <a:pt x="2161383" y="1845210"/>
                      <a:pt x="2149475" y="2488262"/>
                      <a:pt x="2539439" y="2893146"/>
                    </a:cubicBezTo>
                    <a:cubicBezTo>
                      <a:pt x="2905589" y="3274213"/>
                      <a:pt x="3492024" y="3309938"/>
                      <a:pt x="3899849" y="2997344"/>
                    </a:cubicBezTo>
                    <a:cubicBezTo>
                      <a:pt x="3929617" y="2973527"/>
                      <a:pt x="3959385" y="2946733"/>
                      <a:pt x="3986177" y="2922917"/>
                    </a:cubicBezTo>
                    <a:cubicBezTo>
                      <a:pt x="4015945" y="2893146"/>
                      <a:pt x="4042737" y="2860398"/>
                      <a:pt x="4069528" y="2827650"/>
                    </a:cubicBezTo>
                    <a:cubicBezTo>
                      <a:pt x="4391025" y="2434674"/>
                      <a:pt x="4376141" y="1854142"/>
                      <a:pt x="4012968" y="1479028"/>
                    </a:cubicBezTo>
                    <a:cubicBezTo>
                      <a:pt x="3816498" y="1278075"/>
                      <a:pt x="3556770" y="1174621"/>
                      <a:pt x="3295553" y="1169783"/>
                    </a:cubicBezTo>
                    <a:close/>
                    <a:moveTo>
                      <a:pt x="3299874" y="1025826"/>
                    </a:moveTo>
                    <a:cubicBezTo>
                      <a:pt x="3598344" y="1031409"/>
                      <a:pt x="3894581" y="1150499"/>
                      <a:pt x="4117875" y="1381236"/>
                    </a:cubicBezTo>
                    <a:cubicBezTo>
                      <a:pt x="4510873" y="1792097"/>
                      <a:pt x="4546600" y="2417321"/>
                      <a:pt x="4225056" y="2863910"/>
                    </a:cubicBezTo>
                    <a:cubicBezTo>
                      <a:pt x="4501941" y="3149726"/>
                      <a:pt x="4501941" y="3149726"/>
                      <a:pt x="4501941" y="3149726"/>
                    </a:cubicBezTo>
                    <a:cubicBezTo>
                      <a:pt x="4513850" y="3161635"/>
                      <a:pt x="4513850" y="3185453"/>
                      <a:pt x="4501941" y="3194385"/>
                    </a:cubicBezTo>
                    <a:cubicBezTo>
                      <a:pt x="4248875" y="3432566"/>
                      <a:pt x="4248875" y="3432566"/>
                      <a:pt x="4248875" y="3432566"/>
                    </a:cubicBezTo>
                    <a:cubicBezTo>
                      <a:pt x="4239943" y="3447452"/>
                      <a:pt x="4219102" y="3447452"/>
                      <a:pt x="4204216" y="3432566"/>
                    </a:cubicBezTo>
                    <a:cubicBezTo>
                      <a:pt x="3933285" y="3152703"/>
                      <a:pt x="3933285" y="3152703"/>
                      <a:pt x="3933285" y="3152703"/>
                    </a:cubicBezTo>
                    <a:cubicBezTo>
                      <a:pt x="3471811" y="3462338"/>
                      <a:pt x="2834678" y="3408748"/>
                      <a:pt x="2435726" y="2997886"/>
                    </a:cubicBezTo>
                    <a:cubicBezTo>
                      <a:pt x="1989137" y="2533434"/>
                      <a:pt x="2004023" y="1795075"/>
                      <a:pt x="2468475" y="1351464"/>
                    </a:cubicBezTo>
                    <a:cubicBezTo>
                      <a:pt x="2700701" y="1128169"/>
                      <a:pt x="3001404" y="1020244"/>
                      <a:pt x="3299874" y="1025826"/>
                    </a:cubicBezTo>
                    <a:close/>
                    <a:moveTo>
                      <a:pt x="59531" y="0"/>
                    </a:moveTo>
                    <a:cubicBezTo>
                      <a:pt x="59531" y="0"/>
                      <a:pt x="59531" y="0"/>
                      <a:pt x="4202907" y="0"/>
                    </a:cubicBezTo>
                    <a:cubicBezTo>
                      <a:pt x="4232673" y="0"/>
                      <a:pt x="4262438" y="26789"/>
                      <a:pt x="4262438" y="59531"/>
                    </a:cubicBezTo>
                    <a:cubicBezTo>
                      <a:pt x="4262438" y="59531"/>
                      <a:pt x="4262438" y="59531"/>
                      <a:pt x="4262438" y="1372196"/>
                    </a:cubicBezTo>
                    <a:cubicBezTo>
                      <a:pt x="4241602" y="1345407"/>
                      <a:pt x="4220766" y="1321594"/>
                      <a:pt x="4199930" y="1300758"/>
                    </a:cubicBezTo>
                    <a:cubicBezTo>
                      <a:pt x="4179094" y="1279922"/>
                      <a:pt x="4161235" y="1262063"/>
                      <a:pt x="4140399" y="1244204"/>
                    </a:cubicBezTo>
                    <a:cubicBezTo>
                      <a:pt x="4140399" y="1244204"/>
                      <a:pt x="4140399" y="1244204"/>
                      <a:pt x="4140399" y="122039"/>
                    </a:cubicBezTo>
                    <a:cubicBezTo>
                      <a:pt x="4140399" y="122039"/>
                      <a:pt x="4140399" y="122039"/>
                      <a:pt x="119062" y="122039"/>
                    </a:cubicBezTo>
                    <a:cubicBezTo>
                      <a:pt x="119062" y="122039"/>
                      <a:pt x="119062" y="122039"/>
                      <a:pt x="119062" y="2309813"/>
                    </a:cubicBezTo>
                    <a:cubicBezTo>
                      <a:pt x="119062" y="2309813"/>
                      <a:pt x="119062" y="2309813"/>
                      <a:pt x="1896070" y="2309813"/>
                    </a:cubicBezTo>
                    <a:cubicBezTo>
                      <a:pt x="1931789" y="2309813"/>
                      <a:pt x="1955602" y="2336602"/>
                      <a:pt x="1955602" y="2369344"/>
                    </a:cubicBezTo>
                    <a:cubicBezTo>
                      <a:pt x="1955602" y="2369344"/>
                      <a:pt x="1955602" y="2369344"/>
                      <a:pt x="1955602" y="2544962"/>
                    </a:cubicBezTo>
                    <a:cubicBezTo>
                      <a:pt x="1955602" y="2565797"/>
                      <a:pt x="1943695" y="2589610"/>
                      <a:pt x="1925836" y="2598540"/>
                    </a:cubicBezTo>
                    <a:cubicBezTo>
                      <a:pt x="1925836" y="2598540"/>
                      <a:pt x="1925836" y="2598540"/>
                      <a:pt x="1800820" y="2664024"/>
                    </a:cubicBezTo>
                    <a:cubicBezTo>
                      <a:pt x="1800820" y="2664024"/>
                      <a:pt x="1800820" y="2664024"/>
                      <a:pt x="2074664" y="2664024"/>
                    </a:cubicBezTo>
                    <a:cubicBezTo>
                      <a:pt x="2092523" y="2705696"/>
                      <a:pt x="2110383" y="2747368"/>
                      <a:pt x="2131219" y="2786063"/>
                    </a:cubicBezTo>
                    <a:cubicBezTo>
                      <a:pt x="2131219" y="2786063"/>
                      <a:pt x="2131219" y="2786063"/>
                      <a:pt x="1565672" y="2786063"/>
                    </a:cubicBezTo>
                    <a:cubicBezTo>
                      <a:pt x="1538883" y="2786063"/>
                      <a:pt x="1515070" y="2768204"/>
                      <a:pt x="1509117" y="2741415"/>
                    </a:cubicBezTo>
                    <a:cubicBezTo>
                      <a:pt x="1500187" y="2714626"/>
                      <a:pt x="1515070" y="2687837"/>
                      <a:pt x="1538883" y="2672954"/>
                    </a:cubicBezTo>
                    <a:cubicBezTo>
                      <a:pt x="1538883" y="2672954"/>
                      <a:pt x="1538883" y="2672954"/>
                      <a:pt x="1836539" y="2509243"/>
                    </a:cubicBezTo>
                    <a:cubicBezTo>
                      <a:pt x="1836539" y="2509243"/>
                      <a:pt x="1836539" y="2509243"/>
                      <a:pt x="1836539" y="2428876"/>
                    </a:cubicBezTo>
                    <a:cubicBezTo>
                      <a:pt x="1836539" y="2428876"/>
                      <a:pt x="1836539" y="2428876"/>
                      <a:pt x="59531" y="2428876"/>
                    </a:cubicBezTo>
                    <a:cubicBezTo>
                      <a:pt x="23812" y="2428876"/>
                      <a:pt x="0" y="2402086"/>
                      <a:pt x="0" y="2369344"/>
                    </a:cubicBezTo>
                    <a:cubicBezTo>
                      <a:pt x="0" y="2369344"/>
                      <a:pt x="0" y="2369344"/>
                      <a:pt x="0" y="59531"/>
                    </a:cubicBezTo>
                    <a:cubicBezTo>
                      <a:pt x="0" y="26789"/>
                      <a:pt x="23812" y="0"/>
                      <a:pt x="5953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2" name="Freeform 26">
                <a:extLst>
                  <a:ext uri="{FF2B5EF4-FFF2-40B4-BE49-F238E27FC236}">
                    <a16:creationId xmlns:a16="http://schemas.microsoft.com/office/drawing/2014/main" id="{B6C6196E-3E74-4B37-912A-7EEAE5DCD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1447" y="2941701"/>
                <a:ext cx="1284836" cy="1034415"/>
              </a:xfrm>
              <a:custGeom>
                <a:avLst/>
                <a:gdLst>
                  <a:gd name="connsiteX0" fmla="*/ 4426759 w 5353486"/>
                  <a:gd name="connsiteY0" fmla="*/ 3108325 h 4310063"/>
                  <a:gd name="connsiteX1" fmla="*/ 4179889 w 5353486"/>
                  <a:gd name="connsiteY1" fmla="*/ 3349339 h 4310063"/>
                  <a:gd name="connsiteX2" fmla="*/ 4979985 w 5353486"/>
                  <a:gd name="connsiteY2" fmla="*/ 4188424 h 4310063"/>
                  <a:gd name="connsiteX3" fmla="*/ 5146548 w 5353486"/>
                  <a:gd name="connsiteY3" fmla="*/ 4111061 h 4310063"/>
                  <a:gd name="connsiteX4" fmla="*/ 5226855 w 5353486"/>
                  <a:gd name="connsiteY4" fmla="*/ 3997993 h 4310063"/>
                  <a:gd name="connsiteX5" fmla="*/ 5229829 w 5353486"/>
                  <a:gd name="connsiteY5" fmla="*/ 3947410 h 4310063"/>
                  <a:gd name="connsiteX6" fmla="*/ 4426759 w 5353486"/>
                  <a:gd name="connsiteY6" fmla="*/ 3108325 h 4310063"/>
                  <a:gd name="connsiteX7" fmla="*/ 4429524 w 5353486"/>
                  <a:gd name="connsiteY7" fmla="*/ 2965450 h 4310063"/>
                  <a:gd name="connsiteX8" fmla="*/ 4474172 w 5353486"/>
                  <a:gd name="connsiteY8" fmla="*/ 2983299 h 4310063"/>
                  <a:gd name="connsiteX9" fmla="*/ 5316539 w 5353486"/>
                  <a:gd name="connsiteY9" fmla="*/ 3863842 h 4310063"/>
                  <a:gd name="connsiteX10" fmla="*/ 5340352 w 5353486"/>
                  <a:gd name="connsiteY10" fmla="*/ 4033406 h 4310063"/>
                  <a:gd name="connsiteX11" fmla="*/ 5230219 w 5353486"/>
                  <a:gd name="connsiteY11" fmla="*/ 4197021 h 4310063"/>
                  <a:gd name="connsiteX12" fmla="*/ 4998047 w 5353486"/>
                  <a:gd name="connsiteY12" fmla="*/ 4310063 h 4310063"/>
                  <a:gd name="connsiteX13" fmla="*/ 4893867 w 5353486"/>
                  <a:gd name="connsiteY13" fmla="*/ 4268416 h 4310063"/>
                  <a:gd name="connsiteX14" fmla="*/ 4051500 w 5353486"/>
                  <a:gd name="connsiteY14" fmla="*/ 3387873 h 4310063"/>
                  <a:gd name="connsiteX15" fmla="*/ 4051500 w 5353486"/>
                  <a:gd name="connsiteY15" fmla="*/ 3304578 h 4310063"/>
                  <a:gd name="connsiteX16" fmla="*/ 4387852 w 5353486"/>
                  <a:gd name="connsiteY16" fmla="*/ 2980324 h 4310063"/>
                  <a:gd name="connsiteX17" fmla="*/ 4429524 w 5353486"/>
                  <a:gd name="connsiteY17" fmla="*/ 2965450 h 4310063"/>
                  <a:gd name="connsiteX18" fmla="*/ 2509837 w 5353486"/>
                  <a:gd name="connsiteY18" fmla="*/ 1616075 h 4310063"/>
                  <a:gd name="connsiteX19" fmla="*/ 2509837 w 5353486"/>
                  <a:gd name="connsiteY19" fmla="*/ 1735138 h 4310063"/>
                  <a:gd name="connsiteX20" fmla="*/ 3462337 w 5353486"/>
                  <a:gd name="connsiteY20" fmla="*/ 1735138 h 4310063"/>
                  <a:gd name="connsiteX21" fmla="*/ 3462337 w 5353486"/>
                  <a:gd name="connsiteY21" fmla="*/ 1616075 h 4310063"/>
                  <a:gd name="connsiteX22" fmla="*/ 2509837 w 5353486"/>
                  <a:gd name="connsiteY22" fmla="*/ 1616075 h 4310063"/>
                  <a:gd name="connsiteX23" fmla="*/ 288925 w 5353486"/>
                  <a:gd name="connsiteY23" fmla="*/ 1616075 h 4310063"/>
                  <a:gd name="connsiteX24" fmla="*/ 288925 w 5353486"/>
                  <a:gd name="connsiteY24" fmla="*/ 1735138 h 4310063"/>
                  <a:gd name="connsiteX25" fmla="*/ 1244600 w 5353486"/>
                  <a:gd name="connsiteY25" fmla="*/ 1735138 h 4310063"/>
                  <a:gd name="connsiteX26" fmla="*/ 1244600 w 5353486"/>
                  <a:gd name="connsiteY26" fmla="*/ 1616075 h 4310063"/>
                  <a:gd name="connsiteX27" fmla="*/ 288925 w 5353486"/>
                  <a:gd name="connsiteY27" fmla="*/ 1616075 h 4310063"/>
                  <a:gd name="connsiteX28" fmla="*/ 2509837 w 5353486"/>
                  <a:gd name="connsiteY28" fmla="*/ 1301750 h 4310063"/>
                  <a:gd name="connsiteX29" fmla="*/ 2509837 w 5353486"/>
                  <a:gd name="connsiteY29" fmla="*/ 1420813 h 4310063"/>
                  <a:gd name="connsiteX30" fmla="*/ 3462337 w 5353486"/>
                  <a:gd name="connsiteY30" fmla="*/ 1420813 h 4310063"/>
                  <a:gd name="connsiteX31" fmla="*/ 3462337 w 5353486"/>
                  <a:gd name="connsiteY31" fmla="*/ 1301750 h 4310063"/>
                  <a:gd name="connsiteX32" fmla="*/ 2509837 w 5353486"/>
                  <a:gd name="connsiteY32" fmla="*/ 1301750 h 4310063"/>
                  <a:gd name="connsiteX33" fmla="*/ 288925 w 5353486"/>
                  <a:gd name="connsiteY33" fmla="*/ 1301750 h 4310063"/>
                  <a:gd name="connsiteX34" fmla="*/ 288925 w 5353486"/>
                  <a:gd name="connsiteY34" fmla="*/ 1420813 h 4310063"/>
                  <a:gd name="connsiteX35" fmla="*/ 1244600 w 5353486"/>
                  <a:gd name="connsiteY35" fmla="*/ 1420813 h 4310063"/>
                  <a:gd name="connsiteX36" fmla="*/ 1244600 w 5353486"/>
                  <a:gd name="connsiteY36" fmla="*/ 1301750 h 4310063"/>
                  <a:gd name="connsiteX37" fmla="*/ 288925 w 5353486"/>
                  <a:gd name="connsiteY37" fmla="*/ 1301750 h 4310063"/>
                  <a:gd name="connsiteX38" fmla="*/ 2703501 w 5353486"/>
                  <a:gd name="connsiteY38" fmla="*/ 1101725 h 4310063"/>
                  <a:gd name="connsiteX39" fmla="*/ 3360846 w 5353486"/>
                  <a:gd name="connsiteY39" fmla="*/ 1101725 h 4310063"/>
                  <a:gd name="connsiteX40" fmla="*/ 3679108 w 5353486"/>
                  <a:gd name="connsiteY40" fmla="*/ 1313215 h 4310063"/>
                  <a:gd name="connsiteX41" fmla="*/ 3786187 w 5353486"/>
                  <a:gd name="connsiteY41" fmla="*/ 1447258 h 4310063"/>
                  <a:gd name="connsiteX42" fmla="*/ 3786187 w 5353486"/>
                  <a:gd name="connsiteY42" fmla="*/ 1894067 h 4310063"/>
                  <a:gd name="connsiteX43" fmla="*/ 3759417 w 5353486"/>
                  <a:gd name="connsiteY43" fmla="*/ 1920875 h 4310063"/>
                  <a:gd name="connsiteX44" fmla="*/ 2138362 w 5353486"/>
                  <a:gd name="connsiteY44" fmla="*/ 1920875 h 4310063"/>
                  <a:gd name="connsiteX45" fmla="*/ 2162158 w 5353486"/>
                  <a:gd name="connsiteY45" fmla="*/ 1736194 h 4310063"/>
                  <a:gd name="connsiteX46" fmla="*/ 2370366 w 5353486"/>
                  <a:gd name="connsiteY46" fmla="*/ 1736194 h 4310063"/>
                  <a:gd name="connsiteX47" fmla="*/ 2370366 w 5353486"/>
                  <a:gd name="connsiteY47" fmla="*/ 1617045 h 4310063"/>
                  <a:gd name="connsiteX48" fmla="*/ 2197851 w 5353486"/>
                  <a:gd name="connsiteY48" fmla="*/ 1617045 h 4310063"/>
                  <a:gd name="connsiteX49" fmla="*/ 2298981 w 5353486"/>
                  <a:gd name="connsiteY49" fmla="*/ 1420449 h 4310063"/>
                  <a:gd name="connsiteX50" fmla="*/ 2370366 w 5353486"/>
                  <a:gd name="connsiteY50" fmla="*/ 1420449 h 4310063"/>
                  <a:gd name="connsiteX51" fmla="*/ 2370366 w 5353486"/>
                  <a:gd name="connsiteY51" fmla="*/ 1331087 h 4310063"/>
                  <a:gd name="connsiteX52" fmla="*/ 2414983 w 5353486"/>
                  <a:gd name="connsiteY52" fmla="*/ 1289385 h 4310063"/>
                  <a:gd name="connsiteX53" fmla="*/ 2703501 w 5353486"/>
                  <a:gd name="connsiteY53" fmla="*/ 1101725 h 4310063"/>
                  <a:gd name="connsiteX54" fmla="*/ 288925 w 5353486"/>
                  <a:gd name="connsiteY54" fmla="*/ 979487 h 4310063"/>
                  <a:gd name="connsiteX55" fmla="*/ 288925 w 5353486"/>
                  <a:gd name="connsiteY55" fmla="*/ 1098550 h 4310063"/>
                  <a:gd name="connsiteX56" fmla="*/ 1244600 w 5353486"/>
                  <a:gd name="connsiteY56" fmla="*/ 1098550 h 4310063"/>
                  <a:gd name="connsiteX57" fmla="*/ 1244600 w 5353486"/>
                  <a:gd name="connsiteY57" fmla="*/ 979487 h 4310063"/>
                  <a:gd name="connsiteX58" fmla="*/ 288925 w 5353486"/>
                  <a:gd name="connsiteY58" fmla="*/ 979487 h 4310063"/>
                  <a:gd name="connsiteX59" fmla="*/ 1417637 w 5353486"/>
                  <a:gd name="connsiteY59" fmla="*/ 663575 h 4310063"/>
                  <a:gd name="connsiteX60" fmla="*/ 1417637 w 5353486"/>
                  <a:gd name="connsiteY60" fmla="*/ 782638 h 4310063"/>
                  <a:gd name="connsiteX61" fmla="*/ 2370137 w 5353486"/>
                  <a:gd name="connsiteY61" fmla="*/ 782638 h 4310063"/>
                  <a:gd name="connsiteX62" fmla="*/ 2370137 w 5353486"/>
                  <a:gd name="connsiteY62" fmla="*/ 663575 h 4310063"/>
                  <a:gd name="connsiteX63" fmla="*/ 1417637 w 5353486"/>
                  <a:gd name="connsiteY63" fmla="*/ 663575 h 4310063"/>
                  <a:gd name="connsiteX64" fmla="*/ 288925 w 5353486"/>
                  <a:gd name="connsiteY64" fmla="*/ 663575 h 4310063"/>
                  <a:gd name="connsiteX65" fmla="*/ 288925 w 5353486"/>
                  <a:gd name="connsiteY65" fmla="*/ 782638 h 4310063"/>
                  <a:gd name="connsiteX66" fmla="*/ 1244600 w 5353486"/>
                  <a:gd name="connsiteY66" fmla="*/ 782638 h 4310063"/>
                  <a:gd name="connsiteX67" fmla="*/ 1244600 w 5353486"/>
                  <a:gd name="connsiteY67" fmla="*/ 663575 h 4310063"/>
                  <a:gd name="connsiteX68" fmla="*/ 288925 w 5353486"/>
                  <a:gd name="connsiteY68" fmla="*/ 663575 h 4310063"/>
                  <a:gd name="connsiteX69" fmla="*/ 2572947 w 5353486"/>
                  <a:gd name="connsiteY69" fmla="*/ 182562 h 4310063"/>
                  <a:gd name="connsiteX70" fmla="*/ 2543175 w 5353486"/>
                  <a:gd name="connsiteY70" fmla="*/ 209288 h 4310063"/>
                  <a:gd name="connsiteX71" fmla="*/ 2543175 w 5353486"/>
                  <a:gd name="connsiteY71" fmla="*/ 405279 h 4310063"/>
                  <a:gd name="connsiteX72" fmla="*/ 2572947 w 5353486"/>
                  <a:gd name="connsiteY72" fmla="*/ 434975 h 4310063"/>
                  <a:gd name="connsiteX73" fmla="*/ 3472056 w 5353486"/>
                  <a:gd name="connsiteY73" fmla="*/ 434975 h 4310063"/>
                  <a:gd name="connsiteX74" fmla="*/ 3498850 w 5353486"/>
                  <a:gd name="connsiteY74" fmla="*/ 405279 h 4310063"/>
                  <a:gd name="connsiteX75" fmla="*/ 3498850 w 5353486"/>
                  <a:gd name="connsiteY75" fmla="*/ 209288 h 4310063"/>
                  <a:gd name="connsiteX76" fmla="*/ 3472056 w 5353486"/>
                  <a:gd name="connsiteY76" fmla="*/ 182562 h 4310063"/>
                  <a:gd name="connsiteX77" fmla="*/ 2572947 w 5353486"/>
                  <a:gd name="connsiteY77" fmla="*/ 182562 h 4310063"/>
                  <a:gd name="connsiteX78" fmla="*/ 1444426 w 5353486"/>
                  <a:gd name="connsiteY78" fmla="*/ 182562 h 4310063"/>
                  <a:gd name="connsiteX79" fmla="*/ 1417637 w 5353486"/>
                  <a:gd name="connsiteY79" fmla="*/ 209288 h 4310063"/>
                  <a:gd name="connsiteX80" fmla="*/ 1417637 w 5353486"/>
                  <a:gd name="connsiteY80" fmla="*/ 405279 h 4310063"/>
                  <a:gd name="connsiteX81" fmla="*/ 1444426 w 5353486"/>
                  <a:gd name="connsiteY81" fmla="*/ 434975 h 4310063"/>
                  <a:gd name="connsiteX82" fmla="*/ 2343348 w 5353486"/>
                  <a:gd name="connsiteY82" fmla="*/ 434975 h 4310063"/>
                  <a:gd name="connsiteX83" fmla="*/ 2370137 w 5353486"/>
                  <a:gd name="connsiteY83" fmla="*/ 405279 h 4310063"/>
                  <a:gd name="connsiteX84" fmla="*/ 2370137 w 5353486"/>
                  <a:gd name="connsiteY84" fmla="*/ 209288 h 4310063"/>
                  <a:gd name="connsiteX85" fmla="*/ 2343348 w 5353486"/>
                  <a:gd name="connsiteY85" fmla="*/ 182562 h 4310063"/>
                  <a:gd name="connsiteX86" fmla="*/ 1444426 w 5353486"/>
                  <a:gd name="connsiteY86" fmla="*/ 182562 h 4310063"/>
                  <a:gd name="connsiteX87" fmla="*/ 315720 w 5353486"/>
                  <a:gd name="connsiteY87" fmla="*/ 182562 h 4310063"/>
                  <a:gd name="connsiteX88" fmla="*/ 288925 w 5353486"/>
                  <a:gd name="connsiteY88" fmla="*/ 209288 h 4310063"/>
                  <a:gd name="connsiteX89" fmla="*/ 288925 w 5353486"/>
                  <a:gd name="connsiteY89" fmla="*/ 405279 h 4310063"/>
                  <a:gd name="connsiteX90" fmla="*/ 315720 w 5353486"/>
                  <a:gd name="connsiteY90" fmla="*/ 434975 h 4310063"/>
                  <a:gd name="connsiteX91" fmla="*/ 1217806 w 5353486"/>
                  <a:gd name="connsiteY91" fmla="*/ 434975 h 4310063"/>
                  <a:gd name="connsiteX92" fmla="*/ 1244600 w 5353486"/>
                  <a:gd name="connsiteY92" fmla="*/ 405279 h 4310063"/>
                  <a:gd name="connsiteX93" fmla="*/ 1244600 w 5353486"/>
                  <a:gd name="connsiteY93" fmla="*/ 209288 h 4310063"/>
                  <a:gd name="connsiteX94" fmla="*/ 1217806 w 5353486"/>
                  <a:gd name="connsiteY94" fmla="*/ 182562 h 4310063"/>
                  <a:gd name="connsiteX95" fmla="*/ 315720 w 5353486"/>
                  <a:gd name="connsiteY95" fmla="*/ 182562 h 4310063"/>
                  <a:gd name="connsiteX96" fmla="*/ 26789 w 5353486"/>
                  <a:gd name="connsiteY96" fmla="*/ 0 h 4310063"/>
                  <a:gd name="connsiteX97" fmla="*/ 3759399 w 5353486"/>
                  <a:gd name="connsiteY97" fmla="*/ 0 h 4310063"/>
                  <a:gd name="connsiteX98" fmla="*/ 3786188 w 5353486"/>
                  <a:gd name="connsiteY98" fmla="*/ 26803 h 4310063"/>
                  <a:gd name="connsiteX99" fmla="*/ 3786188 w 5353486"/>
                  <a:gd name="connsiteY99" fmla="*/ 884496 h 4310063"/>
                  <a:gd name="connsiteX100" fmla="*/ 3461743 w 5353486"/>
                  <a:gd name="connsiteY100" fmla="*/ 717722 h 4310063"/>
                  <a:gd name="connsiteX101" fmla="*/ 3461743 w 5353486"/>
                  <a:gd name="connsiteY101" fmla="*/ 664117 h 4310063"/>
                  <a:gd name="connsiteX102" fmla="*/ 3247430 w 5353486"/>
                  <a:gd name="connsiteY102" fmla="*/ 664117 h 4310063"/>
                  <a:gd name="connsiteX103" fmla="*/ 3033118 w 5353486"/>
                  <a:gd name="connsiteY103" fmla="*/ 646248 h 4310063"/>
                  <a:gd name="connsiteX104" fmla="*/ 2821782 w 5353486"/>
                  <a:gd name="connsiteY104" fmla="*/ 664117 h 4310063"/>
                  <a:gd name="connsiteX105" fmla="*/ 2506266 w 5353486"/>
                  <a:gd name="connsiteY105" fmla="*/ 664117 h 4310063"/>
                  <a:gd name="connsiteX106" fmla="*/ 2506266 w 5353486"/>
                  <a:gd name="connsiteY106" fmla="*/ 756438 h 4310063"/>
                  <a:gd name="connsiteX107" fmla="*/ 2163961 w 5353486"/>
                  <a:gd name="connsiteY107" fmla="*/ 979795 h 4310063"/>
                  <a:gd name="connsiteX108" fmla="*/ 1416844 w 5353486"/>
                  <a:gd name="connsiteY108" fmla="*/ 979795 h 4310063"/>
                  <a:gd name="connsiteX109" fmla="*/ 1416844 w 5353486"/>
                  <a:gd name="connsiteY109" fmla="*/ 1098919 h 4310063"/>
                  <a:gd name="connsiteX110" fmla="*/ 2047875 w 5353486"/>
                  <a:gd name="connsiteY110" fmla="*/ 1098919 h 4310063"/>
                  <a:gd name="connsiteX111" fmla="*/ 1910954 w 5353486"/>
                  <a:gd name="connsiteY111" fmla="*/ 1301430 h 4310063"/>
                  <a:gd name="connsiteX112" fmla="*/ 1416844 w 5353486"/>
                  <a:gd name="connsiteY112" fmla="*/ 1301430 h 4310063"/>
                  <a:gd name="connsiteX113" fmla="*/ 1416844 w 5353486"/>
                  <a:gd name="connsiteY113" fmla="*/ 1420554 h 4310063"/>
                  <a:gd name="connsiteX114" fmla="*/ 1848446 w 5353486"/>
                  <a:gd name="connsiteY114" fmla="*/ 1420554 h 4310063"/>
                  <a:gd name="connsiteX115" fmla="*/ 1782961 w 5353486"/>
                  <a:gd name="connsiteY115" fmla="*/ 1617109 h 4310063"/>
                  <a:gd name="connsiteX116" fmla="*/ 1416844 w 5353486"/>
                  <a:gd name="connsiteY116" fmla="*/ 1617109 h 4310063"/>
                  <a:gd name="connsiteX117" fmla="*/ 1416844 w 5353486"/>
                  <a:gd name="connsiteY117" fmla="*/ 1736233 h 4310063"/>
                  <a:gd name="connsiteX118" fmla="*/ 1759149 w 5353486"/>
                  <a:gd name="connsiteY118" fmla="*/ 1736233 h 4310063"/>
                  <a:gd name="connsiteX119" fmla="*/ 1744266 w 5353486"/>
                  <a:gd name="connsiteY119" fmla="*/ 1920875 h 4310063"/>
                  <a:gd name="connsiteX120" fmla="*/ 26789 w 5353486"/>
                  <a:gd name="connsiteY120" fmla="*/ 1920875 h 4310063"/>
                  <a:gd name="connsiteX121" fmla="*/ 0 w 5353486"/>
                  <a:gd name="connsiteY121" fmla="*/ 1894072 h 4310063"/>
                  <a:gd name="connsiteX122" fmla="*/ 0 w 5353486"/>
                  <a:gd name="connsiteY122" fmla="*/ 26803 h 4310063"/>
                  <a:gd name="connsiteX123" fmla="*/ 26789 w 5353486"/>
                  <a:gd name="connsiteY123" fmla="*/ 0 h 4310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5353486" h="4310063">
                    <a:moveTo>
                      <a:pt x="4426759" y="3108325"/>
                    </a:moveTo>
                    <a:cubicBezTo>
                      <a:pt x="4179889" y="3349339"/>
                      <a:pt x="4179889" y="3349339"/>
                      <a:pt x="4179889" y="3349339"/>
                    </a:cubicBezTo>
                    <a:cubicBezTo>
                      <a:pt x="4979985" y="4188424"/>
                      <a:pt x="4979985" y="4188424"/>
                      <a:pt x="4979985" y="4188424"/>
                    </a:cubicBezTo>
                    <a:cubicBezTo>
                      <a:pt x="4988908" y="4197350"/>
                      <a:pt x="5066241" y="4188424"/>
                      <a:pt x="5146548" y="4111061"/>
                    </a:cubicBezTo>
                    <a:cubicBezTo>
                      <a:pt x="5185214" y="4075356"/>
                      <a:pt x="5211983" y="4033699"/>
                      <a:pt x="5226855" y="3997993"/>
                    </a:cubicBezTo>
                    <a:cubicBezTo>
                      <a:pt x="5238752" y="3968238"/>
                      <a:pt x="5232804" y="3950386"/>
                      <a:pt x="5229829" y="3947410"/>
                    </a:cubicBezTo>
                    <a:cubicBezTo>
                      <a:pt x="4426759" y="3108325"/>
                      <a:pt x="4426759" y="3108325"/>
                      <a:pt x="4426759" y="3108325"/>
                    </a:cubicBezTo>
                    <a:close/>
                    <a:moveTo>
                      <a:pt x="4429524" y="2965450"/>
                    </a:moveTo>
                    <a:cubicBezTo>
                      <a:pt x="4447383" y="2965450"/>
                      <a:pt x="4462266" y="2971400"/>
                      <a:pt x="4474172" y="2983299"/>
                    </a:cubicBezTo>
                    <a:cubicBezTo>
                      <a:pt x="5316539" y="3863842"/>
                      <a:pt x="5316539" y="3863842"/>
                      <a:pt x="5316539" y="3863842"/>
                    </a:cubicBezTo>
                    <a:cubicBezTo>
                      <a:pt x="5355234" y="3905489"/>
                      <a:pt x="5364164" y="3967960"/>
                      <a:pt x="5340352" y="4033406"/>
                    </a:cubicBezTo>
                    <a:cubicBezTo>
                      <a:pt x="5322492" y="4089927"/>
                      <a:pt x="5280820" y="4149424"/>
                      <a:pt x="5230219" y="4197021"/>
                    </a:cubicBezTo>
                    <a:cubicBezTo>
                      <a:pt x="5152828" y="4271391"/>
                      <a:pt x="5069485" y="4310063"/>
                      <a:pt x="4998047" y="4310063"/>
                    </a:cubicBezTo>
                    <a:cubicBezTo>
                      <a:pt x="4956375" y="4310063"/>
                      <a:pt x="4920656" y="4295189"/>
                      <a:pt x="4893867" y="4268416"/>
                    </a:cubicBezTo>
                    <a:cubicBezTo>
                      <a:pt x="4051500" y="3387873"/>
                      <a:pt x="4051500" y="3387873"/>
                      <a:pt x="4051500" y="3387873"/>
                    </a:cubicBezTo>
                    <a:cubicBezTo>
                      <a:pt x="4030664" y="3364074"/>
                      <a:pt x="4030664" y="3328377"/>
                      <a:pt x="4051500" y="3304578"/>
                    </a:cubicBezTo>
                    <a:cubicBezTo>
                      <a:pt x="4387852" y="2980324"/>
                      <a:pt x="4387852" y="2980324"/>
                      <a:pt x="4387852" y="2980324"/>
                    </a:cubicBezTo>
                    <a:cubicBezTo>
                      <a:pt x="4399758" y="2968425"/>
                      <a:pt x="4414641" y="2965450"/>
                      <a:pt x="4429524" y="2965450"/>
                    </a:cubicBezTo>
                    <a:close/>
                    <a:moveTo>
                      <a:pt x="2509837" y="1616075"/>
                    </a:moveTo>
                    <a:cubicBezTo>
                      <a:pt x="2509837" y="1616075"/>
                      <a:pt x="2509837" y="1616075"/>
                      <a:pt x="2509837" y="1735138"/>
                    </a:cubicBezTo>
                    <a:cubicBezTo>
                      <a:pt x="2509837" y="1735138"/>
                      <a:pt x="2509837" y="1735138"/>
                      <a:pt x="3462337" y="1735138"/>
                    </a:cubicBezTo>
                    <a:cubicBezTo>
                      <a:pt x="3462337" y="1735138"/>
                      <a:pt x="3462337" y="1735138"/>
                      <a:pt x="3462337" y="1616075"/>
                    </a:cubicBezTo>
                    <a:cubicBezTo>
                      <a:pt x="3462337" y="1616075"/>
                      <a:pt x="3462337" y="1616075"/>
                      <a:pt x="2509837" y="1616075"/>
                    </a:cubicBezTo>
                    <a:close/>
                    <a:moveTo>
                      <a:pt x="288925" y="1616075"/>
                    </a:moveTo>
                    <a:cubicBezTo>
                      <a:pt x="288925" y="1616075"/>
                      <a:pt x="288925" y="1616075"/>
                      <a:pt x="288925" y="1735138"/>
                    </a:cubicBezTo>
                    <a:cubicBezTo>
                      <a:pt x="288925" y="1735138"/>
                      <a:pt x="288925" y="1735138"/>
                      <a:pt x="1244600" y="1735138"/>
                    </a:cubicBezTo>
                    <a:cubicBezTo>
                      <a:pt x="1244600" y="1735138"/>
                      <a:pt x="1244600" y="1735138"/>
                      <a:pt x="1244600" y="1616075"/>
                    </a:cubicBezTo>
                    <a:cubicBezTo>
                      <a:pt x="1244600" y="1616075"/>
                      <a:pt x="1244600" y="1616075"/>
                      <a:pt x="288925" y="1616075"/>
                    </a:cubicBezTo>
                    <a:close/>
                    <a:moveTo>
                      <a:pt x="2509837" y="1301750"/>
                    </a:moveTo>
                    <a:cubicBezTo>
                      <a:pt x="2509837" y="1301750"/>
                      <a:pt x="2509837" y="1301750"/>
                      <a:pt x="2509837" y="1420813"/>
                    </a:cubicBezTo>
                    <a:cubicBezTo>
                      <a:pt x="2509837" y="1420813"/>
                      <a:pt x="2509837" y="1420813"/>
                      <a:pt x="3462337" y="1420813"/>
                    </a:cubicBezTo>
                    <a:cubicBezTo>
                      <a:pt x="3462337" y="1420813"/>
                      <a:pt x="3462337" y="1420813"/>
                      <a:pt x="3462337" y="1301750"/>
                    </a:cubicBezTo>
                    <a:cubicBezTo>
                      <a:pt x="3462337" y="1301750"/>
                      <a:pt x="3462337" y="1301750"/>
                      <a:pt x="2509837" y="1301750"/>
                    </a:cubicBezTo>
                    <a:close/>
                    <a:moveTo>
                      <a:pt x="288925" y="1301750"/>
                    </a:moveTo>
                    <a:cubicBezTo>
                      <a:pt x="288925" y="1301750"/>
                      <a:pt x="288925" y="1301750"/>
                      <a:pt x="288925" y="1420813"/>
                    </a:cubicBezTo>
                    <a:cubicBezTo>
                      <a:pt x="288925" y="1420813"/>
                      <a:pt x="288925" y="1420813"/>
                      <a:pt x="1244600" y="1420813"/>
                    </a:cubicBezTo>
                    <a:cubicBezTo>
                      <a:pt x="1244600" y="1420813"/>
                      <a:pt x="1244600" y="1420813"/>
                      <a:pt x="1244600" y="1301750"/>
                    </a:cubicBezTo>
                    <a:cubicBezTo>
                      <a:pt x="1244600" y="1301750"/>
                      <a:pt x="1244600" y="1301750"/>
                      <a:pt x="288925" y="1301750"/>
                    </a:cubicBezTo>
                    <a:close/>
                    <a:moveTo>
                      <a:pt x="2703501" y="1101725"/>
                    </a:moveTo>
                    <a:cubicBezTo>
                      <a:pt x="2703501" y="1101725"/>
                      <a:pt x="2703501" y="1101725"/>
                      <a:pt x="3360846" y="1101725"/>
                    </a:cubicBezTo>
                    <a:cubicBezTo>
                      <a:pt x="3479823" y="1149385"/>
                      <a:pt x="3586901" y="1217895"/>
                      <a:pt x="3679108" y="1313215"/>
                    </a:cubicBezTo>
                    <a:cubicBezTo>
                      <a:pt x="3720750" y="1354917"/>
                      <a:pt x="3756443" y="1402577"/>
                      <a:pt x="3786187" y="1447258"/>
                    </a:cubicBezTo>
                    <a:cubicBezTo>
                      <a:pt x="3786187" y="1447258"/>
                      <a:pt x="3786187" y="1447258"/>
                      <a:pt x="3786187" y="1894067"/>
                    </a:cubicBezTo>
                    <a:cubicBezTo>
                      <a:pt x="3786187" y="1905982"/>
                      <a:pt x="3774290" y="1920875"/>
                      <a:pt x="3759417" y="1920875"/>
                    </a:cubicBezTo>
                    <a:cubicBezTo>
                      <a:pt x="3759417" y="1920875"/>
                      <a:pt x="3759417" y="1920875"/>
                      <a:pt x="2138362" y="1920875"/>
                    </a:cubicBezTo>
                    <a:cubicBezTo>
                      <a:pt x="2138362" y="1858322"/>
                      <a:pt x="2147285" y="1795769"/>
                      <a:pt x="2162158" y="1736194"/>
                    </a:cubicBezTo>
                    <a:cubicBezTo>
                      <a:pt x="2162158" y="1736194"/>
                      <a:pt x="2162158" y="1736194"/>
                      <a:pt x="2370366" y="1736194"/>
                    </a:cubicBezTo>
                    <a:cubicBezTo>
                      <a:pt x="2370366" y="1736194"/>
                      <a:pt x="2370366" y="1736194"/>
                      <a:pt x="2370366" y="1617045"/>
                    </a:cubicBezTo>
                    <a:cubicBezTo>
                      <a:pt x="2370366" y="1617045"/>
                      <a:pt x="2370366" y="1617045"/>
                      <a:pt x="2197851" y="1617045"/>
                    </a:cubicBezTo>
                    <a:cubicBezTo>
                      <a:pt x="2221646" y="1548534"/>
                      <a:pt x="2257339" y="1483002"/>
                      <a:pt x="2298981" y="1420449"/>
                    </a:cubicBezTo>
                    <a:cubicBezTo>
                      <a:pt x="2298981" y="1420449"/>
                      <a:pt x="2298981" y="1420449"/>
                      <a:pt x="2370366" y="1420449"/>
                    </a:cubicBezTo>
                    <a:cubicBezTo>
                      <a:pt x="2370366" y="1420449"/>
                      <a:pt x="2370366" y="1420449"/>
                      <a:pt x="2370366" y="1331087"/>
                    </a:cubicBezTo>
                    <a:cubicBezTo>
                      <a:pt x="2385239" y="1319172"/>
                      <a:pt x="2397136" y="1301300"/>
                      <a:pt x="2414983" y="1289385"/>
                    </a:cubicBezTo>
                    <a:cubicBezTo>
                      <a:pt x="2498266" y="1208959"/>
                      <a:pt x="2599396" y="1146406"/>
                      <a:pt x="2703501" y="1101725"/>
                    </a:cubicBezTo>
                    <a:close/>
                    <a:moveTo>
                      <a:pt x="288925" y="979487"/>
                    </a:moveTo>
                    <a:cubicBezTo>
                      <a:pt x="288925" y="979487"/>
                      <a:pt x="288925" y="979487"/>
                      <a:pt x="288925" y="1098550"/>
                    </a:cubicBezTo>
                    <a:cubicBezTo>
                      <a:pt x="288925" y="1098550"/>
                      <a:pt x="288925" y="1098550"/>
                      <a:pt x="1244600" y="1098550"/>
                    </a:cubicBezTo>
                    <a:cubicBezTo>
                      <a:pt x="1244600" y="1098550"/>
                      <a:pt x="1244600" y="1098550"/>
                      <a:pt x="1244600" y="979487"/>
                    </a:cubicBezTo>
                    <a:cubicBezTo>
                      <a:pt x="1244600" y="979487"/>
                      <a:pt x="1244600" y="979487"/>
                      <a:pt x="288925" y="979487"/>
                    </a:cubicBezTo>
                    <a:close/>
                    <a:moveTo>
                      <a:pt x="1417637" y="663575"/>
                    </a:moveTo>
                    <a:cubicBezTo>
                      <a:pt x="1417637" y="663575"/>
                      <a:pt x="1417637" y="663575"/>
                      <a:pt x="1417637" y="782638"/>
                    </a:cubicBezTo>
                    <a:cubicBezTo>
                      <a:pt x="1417637" y="782638"/>
                      <a:pt x="1417637" y="782638"/>
                      <a:pt x="2370137" y="782638"/>
                    </a:cubicBezTo>
                    <a:cubicBezTo>
                      <a:pt x="2370137" y="782638"/>
                      <a:pt x="2370137" y="782638"/>
                      <a:pt x="2370137" y="663575"/>
                    </a:cubicBezTo>
                    <a:cubicBezTo>
                      <a:pt x="2370137" y="663575"/>
                      <a:pt x="2370137" y="663575"/>
                      <a:pt x="1417637" y="663575"/>
                    </a:cubicBezTo>
                    <a:close/>
                    <a:moveTo>
                      <a:pt x="288925" y="663575"/>
                    </a:moveTo>
                    <a:cubicBezTo>
                      <a:pt x="288925" y="663575"/>
                      <a:pt x="288925" y="663575"/>
                      <a:pt x="288925" y="782638"/>
                    </a:cubicBezTo>
                    <a:cubicBezTo>
                      <a:pt x="288925" y="782638"/>
                      <a:pt x="288925" y="782638"/>
                      <a:pt x="1244600" y="782638"/>
                    </a:cubicBezTo>
                    <a:cubicBezTo>
                      <a:pt x="1244600" y="782638"/>
                      <a:pt x="1244600" y="782638"/>
                      <a:pt x="1244600" y="663575"/>
                    </a:cubicBezTo>
                    <a:cubicBezTo>
                      <a:pt x="1244600" y="663575"/>
                      <a:pt x="1244600" y="663575"/>
                      <a:pt x="288925" y="663575"/>
                    </a:cubicBezTo>
                    <a:close/>
                    <a:moveTo>
                      <a:pt x="2572947" y="182562"/>
                    </a:moveTo>
                    <a:cubicBezTo>
                      <a:pt x="2555084" y="182562"/>
                      <a:pt x="2543175" y="194440"/>
                      <a:pt x="2543175" y="209288"/>
                    </a:cubicBezTo>
                    <a:cubicBezTo>
                      <a:pt x="2543175" y="209288"/>
                      <a:pt x="2543175" y="209288"/>
                      <a:pt x="2543175" y="405279"/>
                    </a:cubicBezTo>
                    <a:cubicBezTo>
                      <a:pt x="2543175" y="423097"/>
                      <a:pt x="2555084" y="434975"/>
                      <a:pt x="2572947" y="434975"/>
                    </a:cubicBezTo>
                    <a:cubicBezTo>
                      <a:pt x="2572947" y="434975"/>
                      <a:pt x="2572947" y="434975"/>
                      <a:pt x="3472056" y="434975"/>
                    </a:cubicBezTo>
                    <a:cubicBezTo>
                      <a:pt x="3483964" y="434975"/>
                      <a:pt x="3498850" y="423097"/>
                      <a:pt x="3498850" y="405279"/>
                    </a:cubicBezTo>
                    <a:cubicBezTo>
                      <a:pt x="3498850" y="405279"/>
                      <a:pt x="3498850" y="405279"/>
                      <a:pt x="3498850" y="209288"/>
                    </a:cubicBezTo>
                    <a:cubicBezTo>
                      <a:pt x="3498850" y="194440"/>
                      <a:pt x="3483964" y="182562"/>
                      <a:pt x="3472056" y="182562"/>
                    </a:cubicBezTo>
                    <a:cubicBezTo>
                      <a:pt x="3472056" y="182562"/>
                      <a:pt x="3472056" y="182562"/>
                      <a:pt x="2572947" y="182562"/>
                    </a:cubicBezTo>
                    <a:close/>
                    <a:moveTo>
                      <a:pt x="1444426" y="182562"/>
                    </a:moveTo>
                    <a:cubicBezTo>
                      <a:pt x="1429543" y="182562"/>
                      <a:pt x="1417637" y="194440"/>
                      <a:pt x="1417637" y="209288"/>
                    </a:cubicBezTo>
                    <a:cubicBezTo>
                      <a:pt x="1417637" y="209288"/>
                      <a:pt x="1417637" y="209288"/>
                      <a:pt x="1417637" y="405279"/>
                    </a:cubicBezTo>
                    <a:cubicBezTo>
                      <a:pt x="1417637" y="423097"/>
                      <a:pt x="1429543" y="434975"/>
                      <a:pt x="1444426" y="434975"/>
                    </a:cubicBezTo>
                    <a:cubicBezTo>
                      <a:pt x="1444426" y="434975"/>
                      <a:pt x="1444426" y="434975"/>
                      <a:pt x="2343348" y="434975"/>
                    </a:cubicBezTo>
                    <a:cubicBezTo>
                      <a:pt x="2358231" y="434975"/>
                      <a:pt x="2370137" y="423097"/>
                      <a:pt x="2370137" y="405279"/>
                    </a:cubicBezTo>
                    <a:cubicBezTo>
                      <a:pt x="2370137" y="405279"/>
                      <a:pt x="2370137" y="405279"/>
                      <a:pt x="2370137" y="209288"/>
                    </a:cubicBezTo>
                    <a:cubicBezTo>
                      <a:pt x="2370137" y="194440"/>
                      <a:pt x="2358231" y="182562"/>
                      <a:pt x="2343348" y="182562"/>
                    </a:cubicBezTo>
                    <a:cubicBezTo>
                      <a:pt x="2343348" y="182562"/>
                      <a:pt x="2343348" y="182562"/>
                      <a:pt x="1444426" y="182562"/>
                    </a:cubicBezTo>
                    <a:close/>
                    <a:moveTo>
                      <a:pt x="315720" y="182562"/>
                    </a:moveTo>
                    <a:cubicBezTo>
                      <a:pt x="303811" y="182562"/>
                      <a:pt x="288925" y="194440"/>
                      <a:pt x="288925" y="209288"/>
                    </a:cubicBezTo>
                    <a:cubicBezTo>
                      <a:pt x="288925" y="209288"/>
                      <a:pt x="288925" y="209288"/>
                      <a:pt x="288925" y="405279"/>
                    </a:cubicBezTo>
                    <a:cubicBezTo>
                      <a:pt x="288925" y="423097"/>
                      <a:pt x="303811" y="434975"/>
                      <a:pt x="315720" y="434975"/>
                    </a:cubicBezTo>
                    <a:cubicBezTo>
                      <a:pt x="315720" y="434975"/>
                      <a:pt x="315720" y="434975"/>
                      <a:pt x="1217806" y="434975"/>
                    </a:cubicBezTo>
                    <a:cubicBezTo>
                      <a:pt x="1229714" y="434975"/>
                      <a:pt x="1244600" y="423097"/>
                      <a:pt x="1244600" y="405279"/>
                    </a:cubicBezTo>
                    <a:cubicBezTo>
                      <a:pt x="1244600" y="405279"/>
                      <a:pt x="1244600" y="405279"/>
                      <a:pt x="1244600" y="209288"/>
                    </a:cubicBezTo>
                    <a:cubicBezTo>
                      <a:pt x="1244600" y="194440"/>
                      <a:pt x="1229714" y="182562"/>
                      <a:pt x="1217806" y="182562"/>
                    </a:cubicBezTo>
                    <a:cubicBezTo>
                      <a:pt x="1217806" y="182562"/>
                      <a:pt x="1217806" y="182562"/>
                      <a:pt x="315720" y="182562"/>
                    </a:cubicBezTo>
                    <a:close/>
                    <a:moveTo>
                      <a:pt x="26789" y="0"/>
                    </a:moveTo>
                    <a:cubicBezTo>
                      <a:pt x="26789" y="0"/>
                      <a:pt x="26789" y="0"/>
                      <a:pt x="3759399" y="0"/>
                    </a:cubicBezTo>
                    <a:cubicBezTo>
                      <a:pt x="3774282" y="0"/>
                      <a:pt x="3786188" y="11912"/>
                      <a:pt x="3786188" y="26803"/>
                    </a:cubicBezTo>
                    <a:cubicBezTo>
                      <a:pt x="3786188" y="26803"/>
                      <a:pt x="3786188" y="26803"/>
                      <a:pt x="3786188" y="884496"/>
                    </a:cubicBezTo>
                    <a:cubicBezTo>
                      <a:pt x="3687962" y="813022"/>
                      <a:pt x="3574852" y="759416"/>
                      <a:pt x="3461743" y="717722"/>
                    </a:cubicBezTo>
                    <a:cubicBezTo>
                      <a:pt x="3461743" y="717722"/>
                      <a:pt x="3461743" y="717722"/>
                      <a:pt x="3461743" y="664117"/>
                    </a:cubicBezTo>
                    <a:cubicBezTo>
                      <a:pt x="3461743" y="664117"/>
                      <a:pt x="3461743" y="664117"/>
                      <a:pt x="3247430" y="664117"/>
                    </a:cubicBezTo>
                    <a:cubicBezTo>
                      <a:pt x="3175993" y="649226"/>
                      <a:pt x="3104555" y="646248"/>
                      <a:pt x="3033118" y="646248"/>
                    </a:cubicBezTo>
                    <a:cubicBezTo>
                      <a:pt x="2961680" y="646248"/>
                      <a:pt x="2890243" y="649226"/>
                      <a:pt x="2821782" y="664117"/>
                    </a:cubicBezTo>
                    <a:cubicBezTo>
                      <a:pt x="2821782" y="664117"/>
                      <a:pt x="2821782" y="664117"/>
                      <a:pt x="2506266" y="664117"/>
                    </a:cubicBezTo>
                    <a:cubicBezTo>
                      <a:pt x="2506266" y="664117"/>
                      <a:pt x="2506266" y="664117"/>
                      <a:pt x="2506266" y="756438"/>
                    </a:cubicBezTo>
                    <a:cubicBezTo>
                      <a:pt x="2381250" y="810044"/>
                      <a:pt x="2265164" y="884496"/>
                      <a:pt x="2163961" y="979795"/>
                    </a:cubicBezTo>
                    <a:cubicBezTo>
                      <a:pt x="2163961" y="979795"/>
                      <a:pt x="2163961" y="979795"/>
                      <a:pt x="1416844" y="979795"/>
                    </a:cubicBezTo>
                    <a:cubicBezTo>
                      <a:pt x="1416844" y="979795"/>
                      <a:pt x="1416844" y="979795"/>
                      <a:pt x="1416844" y="1098919"/>
                    </a:cubicBezTo>
                    <a:cubicBezTo>
                      <a:pt x="1416844" y="1098919"/>
                      <a:pt x="1416844" y="1098919"/>
                      <a:pt x="2047875" y="1098919"/>
                    </a:cubicBezTo>
                    <a:cubicBezTo>
                      <a:pt x="1994297" y="1161459"/>
                      <a:pt x="1946672" y="1229956"/>
                      <a:pt x="1910954" y="1301430"/>
                    </a:cubicBezTo>
                    <a:cubicBezTo>
                      <a:pt x="1910954" y="1301430"/>
                      <a:pt x="1910954" y="1301430"/>
                      <a:pt x="1416844" y="1301430"/>
                    </a:cubicBezTo>
                    <a:cubicBezTo>
                      <a:pt x="1416844" y="1301430"/>
                      <a:pt x="1416844" y="1301430"/>
                      <a:pt x="1416844" y="1420554"/>
                    </a:cubicBezTo>
                    <a:cubicBezTo>
                      <a:pt x="1416844" y="1420554"/>
                      <a:pt x="1416844" y="1420554"/>
                      <a:pt x="1848446" y="1420554"/>
                    </a:cubicBezTo>
                    <a:cubicBezTo>
                      <a:pt x="1821657" y="1486072"/>
                      <a:pt x="1800821" y="1548613"/>
                      <a:pt x="1782961" y="1617109"/>
                    </a:cubicBezTo>
                    <a:cubicBezTo>
                      <a:pt x="1782961" y="1617109"/>
                      <a:pt x="1782961" y="1617109"/>
                      <a:pt x="1416844" y="1617109"/>
                    </a:cubicBezTo>
                    <a:cubicBezTo>
                      <a:pt x="1416844" y="1617109"/>
                      <a:pt x="1416844" y="1617109"/>
                      <a:pt x="1416844" y="1736233"/>
                    </a:cubicBezTo>
                    <a:cubicBezTo>
                      <a:pt x="1416844" y="1736233"/>
                      <a:pt x="1416844" y="1736233"/>
                      <a:pt x="1759149" y="1736233"/>
                    </a:cubicBezTo>
                    <a:cubicBezTo>
                      <a:pt x="1750219" y="1795795"/>
                      <a:pt x="1744266" y="1858335"/>
                      <a:pt x="1744266" y="1920875"/>
                    </a:cubicBezTo>
                    <a:cubicBezTo>
                      <a:pt x="1744266" y="1920875"/>
                      <a:pt x="1744266" y="1920875"/>
                      <a:pt x="26789" y="1920875"/>
                    </a:cubicBezTo>
                    <a:cubicBezTo>
                      <a:pt x="11906" y="1920875"/>
                      <a:pt x="0" y="1905985"/>
                      <a:pt x="0" y="1894072"/>
                    </a:cubicBezTo>
                    <a:cubicBezTo>
                      <a:pt x="0" y="1894072"/>
                      <a:pt x="0" y="1894072"/>
                      <a:pt x="0" y="26803"/>
                    </a:cubicBezTo>
                    <a:cubicBezTo>
                      <a:pt x="0" y="11912"/>
                      <a:pt x="11906" y="0"/>
                      <a:pt x="26789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3" name="Group 4">
            <a:extLst>
              <a:ext uri="{FF2B5EF4-FFF2-40B4-BE49-F238E27FC236}">
                <a16:creationId xmlns:a16="http://schemas.microsoft.com/office/drawing/2014/main" id="{F86D687B-7707-43C2-AD71-C0BB6291FF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27071" y="2651343"/>
            <a:ext cx="827725" cy="828492"/>
            <a:chOff x="1682" y="0"/>
            <a:chExt cx="4316" cy="4320"/>
          </a:xfrm>
        </p:grpSpPr>
        <p:sp>
          <p:nvSpPr>
            <p:cNvPr id="64" name="AutoShape 3">
              <a:extLst>
                <a:ext uri="{FF2B5EF4-FFF2-40B4-BE49-F238E27FC236}">
                  <a16:creationId xmlns:a16="http://schemas.microsoft.com/office/drawing/2014/main" id="{D8CD19DF-C03D-4484-8E2D-63E50FDF043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DD426493-D60F-4129-8B1B-21ED7388F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9" y="1206"/>
              <a:ext cx="3591" cy="2480"/>
            </a:xfrm>
            <a:custGeom>
              <a:avLst/>
              <a:gdLst>
                <a:gd name="T0" fmla="*/ 810 w 1917"/>
                <a:gd name="T1" fmla="*/ 183 h 1323"/>
                <a:gd name="T2" fmla="*/ 550 w 1917"/>
                <a:gd name="T3" fmla="*/ 244 h 1323"/>
                <a:gd name="T4" fmla="*/ 400 w 1917"/>
                <a:gd name="T5" fmla="*/ 445 h 1323"/>
                <a:gd name="T6" fmla="*/ 277 w 1917"/>
                <a:gd name="T7" fmla="*/ 338 h 1323"/>
                <a:gd name="T8" fmla="*/ 277 w 1917"/>
                <a:gd name="T9" fmla="*/ 565 h 1323"/>
                <a:gd name="T10" fmla="*/ 271 w 1917"/>
                <a:gd name="T11" fmla="*/ 735 h 1323"/>
                <a:gd name="T12" fmla="*/ 478 w 1917"/>
                <a:gd name="T13" fmla="*/ 0 h 1323"/>
                <a:gd name="T14" fmla="*/ 1633 w 1917"/>
                <a:gd name="T15" fmla="*/ 1122 h 1323"/>
                <a:gd name="T16" fmla="*/ 1132 w 1917"/>
                <a:gd name="T17" fmla="*/ 1279 h 1323"/>
                <a:gd name="T18" fmla="*/ 744 w 1917"/>
                <a:gd name="T19" fmla="*/ 1154 h 1323"/>
                <a:gd name="T20" fmla="*/ 742 w 1917"/>
                <a:gd name="T21" fmla="*/ 1110 h 1323"/>
                <a:gd name="T22" fmla="*/ 646 w 1917"/>
                <a:gd name="T23" fmla="*/ 1114 h 1323"/>
                <a:gd name="T24" fmla="*/ 641 w 1917"/>
                <a:gd name="T25" fmla="*/ 1114 h 1323"/>
                <a:gd name="T26" fmla="*/ 637 w 1917"/>
                <a:gd name="T27" fmla="*/ 1116 h 1323"/>
                <a:gd name="T28" fmla="*/ 634 w 1917"/>
                <a:gd name="T29" fmla="*/ 1119 h 1323"/>
                <a:gd name="T30" fmla="*/ 631 w 1917"/>
                <a:gd name="T31" fmla="*/ 1122 h 1323"/>
                <a:gd name="T32" fmla="*/ 631 w 1917"/>
                <a:gd name="T33" fmla="*/ 1122 h 1323"/>
                <a:gd name="T34" fmla="*/ 628 w 1917"/>
                <a:gd name="T35" fmla="*/ 1126 h 1323"/>
                <a:gd name="T36" fmla="*/ 627 w 1917"/>
                <a:gd name="T37" fmla="*/ 1130 h 1323"/>
                <a:gd name="T38" fmla="*/ 626 w 1917"/>
                <a:gd name="T39" fmla="*/ 1134 h 1323"/>
                <a:gd name="T40" fmla="*/ 626 w 1917"/>
                <a:gd name="T41" fmla="*/ 1138 h 1323"/>
                <a:gd name="T42" fmla="*/ 627 w 1917"/>
                <a:gd name="T43" fmla="*/ 1142 h 1323"/>
                <a:gd name="T44" fmla="*/ 627 w 1917"/>
                <a:gd name="T45" fmla="*/ 1142 h 1323"/>
                <a:gd name="T46" fmla="*/ 679 w 1917"/>
                <a:gd name="T47" fmla="*/ 1248 h 1323"/>
                <a:gd name="T48" fmla="*/ 699 w 1917"/>
                <a:gd name="T49" fmla="*/ 1219 h 1323"/>
                <a:gd name="T50" fmla="*/ 1132 w 1917"/>
                <a:gd name="T51" fmla="*/ 1323 h 1323"/>
                <a:gd name="T52" fmla="*/ 1633 w 1917"/>
                <a:gd name="T53" fmla="*/ 1122 h 1323"/>
                <a:gd name="T54" fmla="*/ 1873 w 1917"/>
                <a:gd name="T55" fmla="*/ 921 h 1323"/>
                <a:gd name="T56" fmla="*/ 1663 w 1917"/>
                <a:gd name="T57" fmla="*/ 799 h 1323"/>
                <a:gd name="T58" fmla="*/ 1635 w 1917"/>
                <a:gd name="T59" fmla="*/ 778 h 1323"/>
                <a:gd name="T60" fmla="*/ 1461 w 1917"/>
                <a:gd name="T61" fmla="*/ 773 h 1323"/>
                <a:gd name="T62" fmla="*/ 1448 w 1917"/>
                <a:gd name="T63" fmla="*/ 570 h 1323"/>
                <a:gd name="T64" fmla="*/ 1361 w 1917"/>
                <a:gd name="T65" fmla="*/ 550 h 1323"/>
                <a:gd name="T66" fmla="*/ 1437 w 1917"/>
                <a:gd name="T67" fmla="*/ 432 h 1323"/>
                <a:gd name="T68" fmla="*/ 1447 w 1917"/>
                <a:gd name="T69" fmla="*/ 319 h 1323"/>
                <a:gd name="T70" fmla="*/ 1414 w 1917"/>
                <a:gd name="T71" fmla="*/ 252 h 1323"/>
                <a:gd name="T72" fmla="*/ 1401 w 1917"/>
                <a:gd name="T73" fmla="*/ 355 h 1323"/>
                <a:gd name="T74" fmla="*/ 1355 w 1917"/>
                <a:gd name="T75" fmla="*/ 482 h 1323"/>
                <a:gd name="T76" fmla="*/ 1409 w 1917"/>
                <a:gd name="T77" fmla="*/ 609 h 1323"/>
                <a:gd name="T78" fmla="*/ 1429 w 1917"/>
                <a:gd name="T79" fmla="*/ 804 h 1323"/>
                <a:gd name="T80" fmla="*/ 1619 w 1917"/>
                <a:gd name="T81" fmla="*/ 824 h 1323"/>
                <a:gd name="T82" fmla="*/ 1639 w 1917"/>
                <a:gd name="T83" fmla="*/ 1012 h 1323"/>
                <a:gd name="T84" fmla="*/ 1907 w 1917"/>
                <a:gd name="T85" fmla="*/ 953 h 1323"/>
                <a:gd name="T86" fmla="*/ 1917 w 1917"/>
                <a:gd name="T87" fmla="*/ 874 h 1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17" h="1323">
                  <a:moveTo>
                    <a:pt x="866" y="58"/>
                  </a:moveTo>
                  <a:cubicBezTo>
                    <a:pt x="890" y="58"/>
                    <a:pt x="821" y="133"/>
                    <a:pt x="810" y="183"/>
                  </a:cubicBezTo>
                  <a:cubicBezTo>
                    <a:pt x="809" y="184"/>
                    <a:pt x="808" y="185"/>
                    <a:pt x="807" y="185"/>
                  </a:cubicBezTo>
                  <a:cubicBezTo>
                    <a:pt x="782" y="194"/>
                    <a:pt x="643" y="177"/>
                    <a:pt x="550" y="244"/>
                  </a:cubicBezTo>
                  <a:cubicBezTo>
                    <a:pt x="500" y="280"/>
                    <a:pt x="462" y="339"/>
                    <a:pt x="462" y="439"/>
                  </a:cubicBezTo>
                  <a:cubicBezTo>
                    <a:pt x="462" y="453"/>
                    <a:pt x="412" y="447"/>
                    <a:pt x="400" y="445"/>
                  </a:cubicBezTo>
                  <a:cubicBezTo>
                    <a:pt x="398" y="445"/>
                    <a:pt x="397" y="444"/>
                    <a:pt x="396" y="442"/>
                  </a:cubicBezTo>
                  <a:cubicBezTo>
                    <a:pt x="394" y="421"/>
                    <a:pt x="370" y="288"/>
                    <a:pt x="277" y="338"/>
                  </a:cubicBezTo>
                  <a:cubicBezTo>
                    <a:pt x="189" y="383"/>
                    <a:pt x="270" y="552"/>
                    <a:pt x="276" y="564"/>
                  </a:cubicBezTo>
                  <a:cubicBezTo>
                    <a:pt x="277" y="565"/>
                    <a:pt x="277" y="565"/>
                    <a:pt x="277" y="565"/>
                  </a:cubicBezTo>
                  <a:cubicBezTo>
                    <a:pt x="277" y="733"/>
                    <a:pt x="277" y="733"/>
                    <a:pt x="277" y="733"/>
                  </a:cubicBezTo>
                  <a:cubicBezTo>
                    <a:pt x="277" y="736"/>
                    <a:pt x="273" y="737"/>
                    <a:pt x="271" y="735"/>
                  </a:cubicBezTo>
                  <a:cubicBezTo>
                    <a:pt x="230" y="697"/>
                    <a:pt x="0" y="468"/>
                    <a:pt x="108" y="236"/>
                  </a:cubicBezTo>
                  <a:cubicBezTo>
                    <a:pt x="160" y="127"/>
                    <a:pt x="266" y="0"/>
                    <a:pt x="478" y="0"/>
                  </a:cubicBezTo>
                  <a:cubicBezTo>
                    <a:pt x="720" y="0"/>
                    <a:pt x="641" y="62"/>
                    <a:pt x="866" y="58"/>
                  </a:cubicBezTo>
                  <a:close/>
                  <a:moveTo>
                    <a:pt x="1633" y="1122"/>
                  </a:moveTo>
                  <a:cubicBezTo>
                    <a:pt x="1626" y="1112"/>
                    <a:pt x="1612" y="1111"/>
                    <a:pt x="1602" y="1118"/>
                  </a:cubicBezTo>
                  <a:cubicBezTo>
                    <a:pt x="1467" y="1223"/>
                    <a:pt x="1304" y="1279"/>
                    <a:pt x="1132" y="1279"/>
                  </a:cubicBezTo>
                  <a:cubicBezTo>
                    <a:pt x="981" y="1279"/>
                    <a:pt x="838" y="1236"/>
                    <a:pt x="713" y="1155"/>
                  </a:cubicBezTo>
                  <a:cubicBezTo>
                    <a:pt x="744" y="1154"/>
                    <a:pt x="744" y="1154"/>
                    <a:pt x="744" y="1154"/>
                  </a:cubicBezTo>
                  <a:cubicBezTo>
                    <a:pt x="756" y="1153"/>
                    <a:pt x="766" y="1143"/>
                    <a:pt x="765" y="1131"/>
                  </a:cubicBezTo>
                  <a:cubicBezTo>
                    <a:pt x="765" y="1119"/>
                    <a:pt x="755" y="1109"/>
                    <a:pt x="742" y="1110"/>
                  </a:cubicBezTo>
                  <a:cubicBezTo>
                    <a:pt x="647" y="1113"/>
                    <a:pt x="647" y="1113"/>
                    <a:pt x="647" y="1113"/>
                  </a:cubicBezTo>
                  <a:cubicBezTo>
                    <a:pt x="647" y="1113"/>
                    <a:pt x="646" y="1113"/>
                    <a:pt x="646" y="1114"/>
                  </a:cubicBezTo>
                  <a:cubicBezTo>
                    <a:pt x="645" y="1114"/>
                    <a:pt x="645" y="1114"/>
                    <a:pt x="645" y="1114"/>
                  </a:cubicBezTo>
                  <a:cubicBezTo>
                    <a:pt x="644" y="1114"/>
                    <a:pt x="643" y="1114"/>
                    <a:pt x="641" y="1114"/>
                  </a:cubicBezTo>
                  <a:cubicBezTo>
                    <a:pt x="641" y="1114"/>
                    <a:pt x="641" y="1115"/>
                    <a:pt x="641" y="1115"/>
                  </a:cubicBezTo>
                  <a:cubicBezTo>
                    <a:pt x="640" y="1115"/>
                    <a:pt x="639" y="1116"/>
                    <a:pt x="637" y="1116"/>
                  </a:cubicBezTo>
                  <a:cubicBezTo>
                    <a:pt x="637" y="1116"/>
                    <a:pt x="637" y="1116"/>
                    <a:pt x="637" y="1116"/>
                  </a:cubicBezTo>
                  <a:cubicBezTo>
                    <a:pt x="636" y="1117"/>
                    <a:pt x="635" y="1118"/>
                    <a:pt x="634" y="1119"/>
                  </a:cubicBezTo>
                  <a:cubicBezTo>
                    <a:pt x="634" y="1119"/>
                    <a:pt x="634" y="1119"/>
                    <a:pt x="634" y="1119"/>
                  </a:cubicBezTo>
                  <a:cubicBezTo>
                    <a:pt x="633" y="1120"/>
                    <a:pt x="632" y="1121"/>
                    <a:pt x="631" y="1122"/>
                  </a:cubicBezTo>
                  <a:cubicBezTo>
                    <a:pt x="631" y="1122"/>
                    <a:pt x="631" y="1122"/>
                    <a:pt x="631" y="1122"/>
                  </a:cubicBezTo>
                  <a:cubicBezTo>
                    <a:pt x="631" y="1122"/>
                    <a:pt x="631" y="1122"/>
                    <a:pt x="631" y="1122"/>
                  </a:cubicBezTo>
                  <a:cubicBezTo>
                    <a:pt x="630" y="1122"/>
                    <a:pt x="630" y="1123"/>
                    <a:pt x="630" y="1123"/>
                  </a:cubicBezTo>
                  <a:cubicBezTo>
                    <a:pt x="629" y="1124"/>
                    <a:pt x="629" y="1125"/>
                    <a:pt x="628" y="1126"/>
                  </a:cubicBezTo>
                  <a:cubicBezTo>
                    <a:pt x="628" y="1126"/>
                    <a:pt x="628" y="1126"/>
                    <a:pt x="628" y="1126"/>
                  </a:cubicBezTo>
                  <a:cubicBezTo>
                    <a:pt x="628" y="1127"/>
                    <a:pt x="627" y="1128"/>
                    <a:pt x="627" y="1130"/>
                  </a:cubicBezTo>
                  <a:cubicBezTo>
                    <a:pt x="627" y="1130"/>
                    <a:pt x="627" y="1130"/>
                    <a:pt x="627" y="1130"/>
                  </a:cubicBezTo>
                  <a:cubicBezTo>
                    <a:pt x="627" y="1131"/>
                    <a:pt x="626" y="1132"/>
                    <a:pt x="626" y="1134"/>
                  </a:cubicBezTo>
                  <a:cubicBezTo>
                    <a:pt x="626" y="1134"/>
                    <a:pt x="626" y="1134"/>
                    <a:pt x="626" y="1134"/>
                  </a:cubicBezTo>
                  <a:cubicBezTo>
                    <a:pt x="626" y="1135"/>
                    <a:pt x="626" y="1137"/>
                    <a:pt x="626" y="1138"/>
                  </a:cubicBezTo>
                  <a:cubicBezTo>
                    <a:pt x="626" y="1138"/>
                    <a:pt x="626" y="1138"/>
                    <a:pt x="626" y="1139"/>
                  </a:cubicBezTo>
                  <a:cubicBezTo>
                    <a:pt x="627" y="1140"/>
                    <a:pt x="627" y="1141"/>
                    <a:pt x="627" y="1142"/>
                  </a:cubicBezTo>
                  <a:cubicBezTo>
                    <a:pt x="627" y="1142"/>
                    <a:pt x="627" y="1142"/>
                    <a:pt x="627" y="1142"/>
                  </a:cubicBezTo>
                  <a:cubicBezTo>
                    <a:pt x="627" y="1142"/>
                    <a:pt x="627" y="1142"/>
                    <a:pt x="627" y="1142"/>
                  </a:cubicBezTo>
                  <a:cubicBezTo>
                    <a:pt x="658" y="1233"/>
                    <a:pt x="658" y="1233"/>
                    <a:pt x="658" y="1233"/>
                  </a:cubicBezTo>
                  <a:cubicBezTo>
                    <a:pt x="661" y="1242"/>
                    <a:pt x="669" y="1248"/>
                    <a:pt x="679" y="1248"/>
                  </a:cubicBezTo>
                  <a:cubicBezTo>
                    <a:pt x="681" y="1248"/>
                    <a:pt x="683" y="1247"/>
                    <a:pt x="686" y="1246"/>
                  </a:cubicBezTo>
                  <a:cubicBezTo>
                    <a:pt x="697" y="1243"/>
                    <a:pt x="703" y="1230"/>
                    <a:pt x="699" y="1219"/>
                  </a:cubicBezTo>
                  <a:cubicBezTo>
                    <a:pt x="691" y="1193"/>
                    <a:pt x="691" y="1193"/>
                    <a:pt x="691" y="1193"/>
                  </a:cubicBezTo>
                  <a:cubicBezTo>
                    <a:pt x="822" y="1278"/>
                    <a:pt x="973" y="1323"/>
                    <a:pt x="1132" y="1323"/>
                  </a:cubicBezTo>
                  <a:cubicBezTo>
                    <a:pt x="1314" y="1323"/>
                    <a:pt x="1486" y="1264"/>
                    <a:pt x="1629" y="1153"/>
                  </a:cubicBezTo>
                  <a:cubicBezTo>
                    <a:pt x="1639" y="1145"/>
                    <a:pt x="1641" y="1131"/>
                    <a:pt x="1633" y="1122"/>
                  </a:cubicBezTo>
                  <a:close/>
                  <a:moveTo>
                    <a:pt x="1873" y="887"/>
                  </a:moveTo>
                  <a:cubicBezTo>
                    <a:pt x="1873" y="921"/>
                    <a:pt x="1873" y="921"/>
                    <a:pt x="1873" y="921"/>
                  </a:cubicBezTo>
                  <a:cubicBezTo>
                    <a:pt x="1797" y="963"/>
                    <a:pt x="1703" y="969"/>
                    <a:pt x="1663" y="969"/>
                  </a:cubicBezTo>
                  <a:cubicBezTo>
                    <a:pt x="1663" y="799"/>
                    <a:pt x="1663" y="799"/>
                    <a:pt x="1663" y="799"/>
                  </a:cubicBezTo>
                  <a:cubicBezTo>
                    <a:pt x="1663" y="792"/>
                    <a:pt x="1659" y="785"/>
                    <a:pt x="1653" y="781"/>
                  </a:cubicBezTo>
                  <a:cubicBezTo>
                    <a:pt x="1647" y="778"/>
                    <a:pt x="1641" y="777"/>
                    <a:pt x="1635" y="778"/>
                  </a:cubicBezTo>
                  <a:cubicBezTo>
                    <a:pt x="1629" y="779"/>
                    <a:pt x="1591" y="783"/>
                    <a:pt x="1549" y="783"/>
                  </a:cubicBezTo>
                  <a:cubicBezTo>
                    <a:pt x="1478" y="783"/>
                    <a:pt x="1462" y="774"/>
                    <a:pt x="1461" y="773"/>
                  </a:cubicBezTo>
                  <a:cubicBezTo>
                    <a:pt x="1451" y="759"/>
                    <a:pt x="1448" y="674"/>
                    <a:pt x="1454" y="588"/>
                  </a:cubicBezTo>
                  <a:cubicBezTo>
                    <a:pt x="1455" y="581"/>
                    <a:pt x="1452" y="575"/>
                    <a:pt x="1448" y="570"/>
                  </a:cubicBezTo>
                  <a:cubicBezTo>
                    <a:pt x="1443" y="566"/>
                    <a:pt x="1436" y="564"/>
                    <a:pt x="1430" y="564"/>
                  </a:cubicBezTo>
                  <a:cubicBezTo>
                    <a:pt x="1389" y="569"/>
                    <a:pt x="1368" y="557"/>
                    <a:pt x="1361" y="550"/>
                  </a:cubicBezTo>
                  <a:cubicBezTo>
                    <a:pt x="1363" y="542"/>
                    <a:pt x="1371" y="528"/>
                    <a:pt x="1386" y="514"/>
                  </a:cubicBezTo>
                  <a:cubicBezTo>
                    <a:pt x="1415" y="485"/>
                    <a:pt x="1433" y="444"/>
                    <a:pt x="1437" y="432"/>
                  </a:cubicBezTo>
                  <a:cubicBezTo>
                    <a:pt x="1443" y="418"/>
                    <a:pt x="1444" y="394"/>
                    <a:pt x="1445" y="356"/>
                  </a:cubicBezTo>
                  <a:cubicBezTo>
                    <a:pt x="1445" y="342"/>
                    <a:pt x="1446" y="329"/>
                    <a:pt x="1447" y="319"/>
                  </a:cubicBezTo>
                  <a:cubicBezTo>
                    <a:pt x="1447" y="314"/>
                    <a:pt x="1448" y="307"/>
                    <a:pt x="1449" y="299"/>
                  </a:cubicBezTo>
                  <a:cubicBezTo>
                    <a:pt x="1437" y="284"/>
                    <a:pt x="1425" y="268"/>
                    <a:pt x="1414" y="252"/>
                  </a:cubicBezTo>
                  <a:cubicBezTo>
                    <a:pt x="1409" y="272"/>
                    <a:pt x="1404" y="298"/>
                    <a:pt x="1403" y="316"/>
                  </a:cubicBezTo>
                  <a:cubicBezTo>
                    <a:pt x="1402" y="326"/>
                    <a:pt x="1401" y="340"/>
                    <a:pt x="1401" y="355"/>
                  </a:cubicBezTo>
                  <a:cubicBezTo>
                    <a:pt x="1401" y="375"/>
                    <a:pt x="1400" y="408"/>
                    <a:pt x="1397" y="416"/>
                  </a:cubicBezTo>
                  <a:cubicBezTo>
                    <a:pt x="1388" y="436"/>
                    <a:pt x="1373" y="464"/>
                    <a:pt x="1355" y="482"/>
                  </a:cubicBezTo>
                  <a:cubicBezTo>
                    <a:pt x="1336" y="501"/>
                    <a:pt x="1307" y="540"/>
                    <a:pt x="1318" y="565"/>
                  </a:cubicBezTo>
                  <a:cubicBezTo>
                    <a:pt x="1325" y="581"/>
                    <a:pt x="1352" y="608"/>
                    <a:pt x="1409" y="609"/>
                  </a:cubicBezTo>
                  <a:cubicBezTo>
                    <a:pt x="1408" y="627"/>
                    <a:pt x="1407" y="651"/>
                    <a:pt x="1407" y="677"/>
                  </a:cubicBezTo>
                  <a:cubicBezTo>
                    <a:pt x="1407" y="768"/>
                    <a:pt x="1418" y="792"/>
                    <a:pt x="1429" y="804"/>
                  </a:cubicBezTo>
                  <a:cubicBezTo>
                    <a:pt x="1440" y="815"/>
                    <a:pt x="1464" y="828"/>
                    <a:pt x="1551" y="827"/>
                  </a:cubicBezTo>
                  <a:cubicBezTo>
                    <a:pt x="1565" y="827"/>
                    <a:pt x="1595" y="826"/>
                    <a:pt x="1619" y="824"/>
                  </a:cubicBezTo>
                  <a:cubicBezTo>
                    <a:pt x="1619" y="990"/>
                    <a:pt x="1619" y="990"/>
                    <a:pt x="1619" y="990"/>
                  </a:cubicBezTo>
                  <a:cubicBezTo>
                    <a:pt x="1619" y="1002"/>
                    <a:pt x="1627" y="1012"/>
                    <a:pt x="1639" y="1012"/>
                  </a:cubicBezTo>
                  <a:cubicBezTo>
                    <a:pt x="1640" y="1012"/>
                    <a:pt x="1649" y="1013"/>
                    <a:pt x="1662" y="1013"/>
                  </a:cubicBezTo>
                  <a:cubicBezTo>
                    <a:pt x="1708" y="1013"/>
                    <a:pt x="1818" y="1007"/>
                    <a:pt x="1907" y="953"/>
                  </a:cubicBezTo>
                  <a:cubicBezTo>
                    <a:pt x="1913" y="949"/>
                    <a:pt x="1917" y="942"/>
                    <a:pt x="1917" y="934"/>
                  </a:cubicBezTo>
                  <a:cubicBezTo>
                    <a:pt x="1917" y="874"/>
                    <a:pt x="1917" y="874"/>
                    <a:pt x="1917" y="874"/>
                  </a:cubicBezTo>
                  <a:cubicBezTo>
                    <a:pt x="1901" y="880"/>
                    <a:pt x="1887" y="884"/>
                    <a:pt x="1873" y="8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75838BB-68D3-41EF-8A08-42B76524CB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9" y="638"/>
              <a:ext cx="3973" cy="2460"/>
            </a:xfrm>
            <a:custGeom>
              <a:avLst/>
              <a:gdLst>
                <a:gd name="T0" fmla="*/ 592 w 2121"/>
                <a:gd name="T1" fmla="*/ 899 h 1312"/>
                <a:gd name="T2" fmla="*/ 597 w 2121"/>
                <a:gd name="T3" fmla="*/ 1027 h 1312"/>
                <a:gd name="T4" fmla="*/ 388 w 2121"/>
                <a:gd name="T5" fmla="*/ 1136 h 1312"/>
                <a:gd name="T6" fmla="*/ 366 w 2121"/>
                <a:gd name="T7" fmla="*/ 1312 h 1312"/>
                <a:gd name="T8" fmla="*/ 14 w 2121"/>
                <a:gd name="T9" fmla="*/ 1251 h 1312"/>
                <a:gd name="T10" fmla="*/ 0 w 2121"/>
                <a:gd name="T11" fmla="*/ 1070 h 1312"/>
                <a:gd name="T12" fmla="*/ 44 w 2121"/>
                <a:gd name="T13" fmla="*/ 1103 h 1312"/>
                <a:gd name="T14" fmla="*/ 344 w 2121"/>
                <a:gd name="T15" fmla="*/ 1268 h 1312"/>
                <a:gd name="T16" fmla="*/ 351 w 2121"/>
                <a:gd name="T17" fmla="*/ 1095 h 1312"/>
                <a:gd name="T18" fmla="*/ 546 w 2121"/>
                <a:gd name="T19" fmla="*/ 1088 h 1312"/>
                <a:gd name="T20" fmla="*/ 554 w 2121"/>
                <a:gd name="T21" fmla="*/ 1018 h 1312"/>
                <a:gd name="T22" fmla="*/ 552 w 2121"/>
                <a:gd name="T23" fmla="*/ 861 h 1312"/>
                <a:gd name="T24" fmla="*/ 639 w 2121"/>
                <a:gd name="T25" fmla="*/ 838 h 1312"/>
                <a:gd name="T26" fmla="*/ 600 w 2121"/>
                <a:gd name="T27" fmla="*/ 791 h 1312"/>
                <a:gd name="T28" fmla="*/ 547 w 2121"/>
                <a:gd name="T29" fmla="*/ 656 h 1312"/>
                <a:gd name="T30" fmla="*/ 529 w 2121"/>
                <a:gd name="T31" fmla="*/ 536 h 1312"/>
                <a:gd name="T32" fmla="*/ 573 w 2121"/>
                <a:gd name="T33" fmla="*/ 532 h 1312"/>
                <a:gd name="T34" fmla="*/ 591 w 2121"/>
                <a:gd name="T35" fmla="*/ 652 h 1312"/>
                <a:gd name="T36" fmla="*/ 633 w 2121"/>
                <a:gd name="T37" fmla="*/ 761 h 1312"/>
                <a:gd name="T38" fmla="*/ 682 w 2121"/>
                <a:gd name="T39" fmla="*/ 850 h 1312"/>
                <a:gd name="T40" fmla="*/ 1397 w 2121"/>
                <a:gd name="T41" fmla="*/ 193 h 1312"/>
                <a:gd name="T42" fmla="*/ 1398 w 2121"/>
                <a:gd name="T43" fmla="*/ 189 h 1312"/>
                <a:gd name="T44" fmla="*/ 1398 w 2121"/>
                <a:gd name="T45" fmla="*/ 184 h 1312"/>
                <a:gd name="T46" fmla="*/ 1397 w 2121"/>
                <a:gd name="T47" fmla="*/ 181 h 1312"/>
                <a:gd name="T48" fmla="*/ 1366 w 2121"/>
                <a:gd name="T49" fmla="*/ 90 h 1312"/>
                <a:gd name="T50" fmla="*/ 1325 w 2121"/>
                <a:gd name="T51" fmla="*/ 104 h 1312"/>
                <a:gd name="T52" fmla="*/ 892 w 2121"/>
                <a:gd name="T53" fmla="*/ 0 h 1312"/>
                <a:gd name="T54" fmla="*/ 391 w 2121"/>
                <a:gd name="T55" fmla="*/ 201 h 1312"/>
                <a:gd name="T56" fmla="*/ 422 w 2121"/>
                <a:gd name="T57" fmla="*/ 205 h 1312"/>
                <a:gd name="T58" fmla="*/ 1311 w 2121"/>
                <a:gd name="T59" fmla="*/ 168 h 1312"/>
                <a:gd name="T60" fmla="*/ 1259 w 2121"/>
                <a:gd name="T61" fmla="*/ 192 h 1312"/>
                <a:gd name="T62" fmla="*/ 1282 w 2121"/>
                <a:gd name="T63" fmla="*/ 213 h 1312"/>
                <a:gd name="T64" fmla="*/ 1378 w 2121"/>
                <a:gd name="T65" fmla="*/ 209 h 1312"/>
                <a:gd name="T66" fmla="*/ 1383 w 2121"/>
                <a:gd name="T67" fmla="*/ 209 h 1312"/>
                <a:gd name="T68" fmla="*/ 1387 w 2121"/>
                <a:gd name="T69" fmla="*/ 207 h 1312"/>
                <a:gd name="T70" fmla="*/ 1390 w 2121"/>
                <a:gd name="T71" fmla="*/ 204 h 1312"/>
                <a:gd name="T72" fmla="*/ 1393 w 2121"/>
                <a:gd name="T73" fmla="*/ 201 h 1312"/>
                <a:gd name="T74" fmla="*/ 1393 w 2121"/>
                <a:gd name="T75" fmla="*/ 201 h 1312"/>
                <a:gd name="T76" fmla="*/ 1395 w 2121"/>
                <a:gd name="T77" fmla="*/ 197 h 1312"/>
                <a:gd name="T78" fmla="*/ 1397 w 2121"/>
                <a:gd name="T79" fmla="*/ 193 h 1312"/>
                <a:gd name="T80" fmla="*/ 1695 w 2121"/>
                <a:gd name="T81" fmla="*/ 891 h 1312"/>
                <a:gd name="T82" fmla="*/ 1884 w 2121"/>
                <a:gd name="T83" fmla="*/ 545 h 1312"/>
                <a:gd name="T84" fmla="*/ 1180 w 2121"/>
                <a:gd name="T85" fmla="*/ 483 h 1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21" h="1312">
                  <a:moveTo>
                    <a:pt x="682" y="850"/>
                  </a:moveTo>
                  <a:cubicBezTo>
                    <a:pt x="678" y="862"/>
                    <a:pt x="660" y="897"/>
                    <a:pt x="592" y="899"/>
                  </a:cubicBezTo>
                  <a:cubicBezTo>
                    <a:pt x="595" y="931"/>
                    <a:pt x="600" y="985"/>
                    <a:pt x="597" y="1021"/>
                  </a:cubicBezTo>
                  <a:cubicBezTo>
                    <a:pt x="597" y="1027"/>
                    <a:pt x="597" y="1027"/>
                    <a:pt x="597" y="1027"/>
                  </a:cubicBezTo>
                  <a:cubicBezTo>
                    <a:pt x="593" y="1083"/>
                    <a:pt x="591" y="1113"/>
                    <a:pt x="567" y="1126"/>
                  </a:cubicBezTo>
                  <a:cubicBezTo>
                    <a:pt x="548" y="1136"/>
                    <a:pt x="479" y="1146"/>
                    <a:pt x="388" y="1136"/>
                  </a:cubicBezTo>
                  <a:cubicBezTo>
                    <a:pt x="388" y="1290"/>
                    <a:pt x="388" y="1290"/>
                    <a:pt x="388" y="1290"/>
                  </a:cubicBezTo>
                  <a:cubicBezTo>
                    <a:pt x="388" y="1302"/>
                    <a:pt x="378" y="1312"/>
                    <a:pt x="366" y="1312"/>
                  </a:cubicBezTo>
                  <a:cubicBezTo>
                    <a:pt x="366" y="1312"/>
                    <a:pt x="365" y="1312"/>
                    <a:pt x="365" y="1312"/>
                  </a:cubicBezTo>
                  <a:cubicBezTo>
                    <a:pt x="350" y="1312"/>
                    <a:pt x="161" y="1311"/>
                    <a:pt x="14" y="1251"/>
                  </a:cubicBezTo>
                  <a:cubicBezTo>
                    <a:pt x="5" y="1247"/>
                    <a:pt x="0" y="1239"/>
                    <a:pt x="0" y="1230"/>
                  </a:cubicBezTo>
                  <a:cubicBezTo>
                    <a:pt x="0" y="1070"/>
                    <a:pt x="0" y="1070"/>
                    <a:pt x="0" y="1070"/>
                  </a:cubicBezTo>
                  <a:cubicBezTo>
                    <a:pt x="0" y="1070"/>
                    <a:pt x="0" y="1070"/>
                    <a:pt x="1" y="1070"/>
                  </a:cubicBezTo>
                  <a:cubicBezTo>
                    <a:pt x="7" y="1076"/>
                    <a:pt x="28" y="1093"/>
                    <a:pt x="44" y="1103"/>
                  </a:cubicBezTo>
                  <a:cubicBezTo>
                    <a:pt x="44" y="1215"/>
                    <a:pt x="44" y="1215"/>
                    <a:pt x="44" y="1215"/>
                  </a:cubicBezTo>
                  <a:cubicBezTo>
                    <a:pt x="155" y="1257"/>
                    <a:pt x="291" y="1266"/>
                    <a:pt x="344" y="1268"/>
                  </a:cubicBezTo>
                  <a:cubicBezTo>
                    <a:pt x="344" y="1112"/>
                    <a:pt x="344" y="1112"/>
                    <a:pt x="344" y="1112"/>
                  </a:cubicBezTo>
                  <a:cubicBezTo>
                    <a:pt x="344" y="1105"/>
                    <a:pt x="346" y="1099"/>
                    <a:pt x="351" y="1095"/>
                  </a:cubicBezTo>
                  <a:cubicBezTo>
                    <a:pt x="356" y="1091"/>
                    <a:pt x="362" y="1089"/>
                    <a:pt x="369" y="1090"/>
                  </a:cubicBezTo>
                  <a:cubicBezTo>
                    <a:pt x="466" y="1103"/>
                    <a:pt x="531" y="1093"/>
                    <a:pt x="546" y="1088"/>
                  </a:cubicBezTo>
                  <a:cubicBezTo>
                    <a:pt x="550" y="1079"/>
                    <a:pt x="551" y="1050"/>
                    <a:pt x="553" y="1024"/>
                  </a:cubicBezTo>
                  <a:cubicBezTo>
                    <a:pt x="554" y="1018"/>
                    <a:pt x="554" y="1018"/>
                    <a:pt x="554" y="1018"/>
                  </a:cubicBezTo>
                  <a:cubicBezTo>
                    <a:pt x="557" y="970"/>
                    <a:pt x="546" y="880"/>
                    <a:pt x="546" y="879"/>
                  </a:cubicBezTo>
                  <a:cubicBezTo>
                    <a:pt x="545" y="873"/>
                    <a:pt x="547" y="866"/>
                    <a:pt x="552" y="861"/>
                  </a:cubicBezTo>
                  <a:cubicBezTo>
                    <a:pt x="556" y="856"/>
                    <a:pt x="563" y="854"/>
                    <a:pt x="570" y="855"/>
                  </a:cubicBezTo>
                  <a:cubicBezTo>
                    <a:pt x="614" y="859"/>
                    <a:pt x="634" y="847"/>
                    <a:pt x="639" y="838"/>
                  </a:cubicBezTo>
                  <a:cubicBezTo>
                    <a:pt x="635" y="829"/>
                    <a:pt x="617" y="809"/>
                    <a:pt x="608" y="800"/>
                  </a:cubicBezTo>
                  <a:cubicBezTo>
                    <a:pt x="606" y="797"/>
                    <a:pt x="603" y="794"/>
                    <a:pt x="600" y="791"/>
                  </a:cubicBezTo>
                  <a:cubicBezTo>
                    <a:pt x="580" y="769"/>
                    <a:pt x="564" y="731"/>
                    <a:pt x="554" y="702"/>
                  </a:cubicBezTo>
                  <a:cubicBezTo>
                    <a:pt x="550" y="690"/>
                    <a:pt x="549" y="674"/>
                    <a:pt x="547" y="656"/>
                  </a:cubicBezTo>
                  <a:cubicBezTo>
                    <a:pt x="546" y="639"/>
                    <a:pt x="544" y="619"/>
                    <a:pt x="540" y="606"/>
                  </a:cubicBezTo>
                  <a:cubicBezTo>
                    <a:pt x="533" y="586"/>
                    <a:pt x="530" y="556"/>
                    <a:pt x="529" y="536"/>
                  </a:cubicBezTo>
                  <a:cubicBezTo>
                    <a:pt x="530" y="536"/>
                    <a:pt x="530" y="536"/>
                    <a:pt x="530" y="536"/>
                  </a:cubicBezTo>
                  <a:cubicBezTo>
                    <a:pt x="549" y="535"/>
                    <a:pt x="562" y="534"/>
                    <a:pt x="573" y="532"/>
                  </a:cubicBezTo>
                  <a:cubicBezTo>
                    <a:pt x="574" y="551"/>
                    <a:pt x="576" y="577"/>
                    <a:pt x="581" y="592"/>
                  </a:cubicBezTo>
                  <a:cubicBezTo>
                    <a:pt x="587" y="610"/>
                    <a:pt x="589" y="633"/>
                    <a:pt x="591" y="652"/>
                  </a:cubicBezTo>
                  <a:cubicBezTo>
                    <a:pt x="592" y="666"/>
                    <a:pt x="593" y="681"/>
                    <a:pt x="596" y="687"/>
                  </a:cubicBezTo>
                  <a:cubicBezTo>
                    <a:pt x="608" y="722"/>
                    <a:pt x="621" y="749"/>
                    <a:pt x="633" y="761"/>
                  </a:cubicBezTo>
                  <a:cubicBezTo>
                    <a:pt x="635" y="764"/>
                    <a:pt x="638" y="767"/>
                    <a:pt x="641" y="770"/>
                  </a:cubicBezTo>
                  <a:cubicBezTo>
                    <a:pt x="667" y="798"/>
                    <a:pt x="691" y="824"/>
                    <a:pt x="682" y="850"/>
                  </a:cubicBezTo>
                  <a:close/>
                  <a:moveTo>
                    <a:pt x="1397" y="193"/>
                  </a:moveTo>
                  <a:cubicBezTo>
                    <a:pt x="1397" y="193"/>
                    <a:pt x="1397" y="193"/>
                    <a:pt x="1397" y="193"/>
                  </a:cubicBezTo>
                  <a:cubicBezTo>
                    <a:pt x="1397" y="192"/>
                    <a:pt x="1398" y="191"/>
                    <a:pt x="1398" y="189"/>
                  </a:cubicBezTo>
                  <a:cubicBezTo>
                    <a:pt x="1398" y="189"/>
                    <a:pt x="1398" y="189"/>
                    <a:pt x="1398" y="189"/>
                  </a:cubicBezTo>
                  <a:cubicBezTo>
                    <a:pt x="1398" y="188"/>
                    <a:pt x="1398" y="186"/>
                    <a:pt x="1398" y="185"/>
                  </a:cubicBezTo>
                  <a:cubicBezTo>
                    <a:pt x="1398" y="185"/>
                    <a:pt x="1398" y="185"/>
                    <a:pt x="1398" y="184"/>
                  </a:cubicBezTo>
                  <a:cubicBezTo>
                    <a:pt x="1397" y="183"/>
                    <a:pt x="1397" y="182"/>
                    <a:pt x="1397" y="181"/>
                  </a:cubicBezTo>
                  <a:cubicBezTo>
                    <a:pt x="1397" y="181"/>
                    <a:pt x="1397" y="181"/>
                    <a:pt x="1397" y="181"/>
                  </a:cubicBezTo>
                  <a:cubicBezTo>
                    <a:pt x="1397" y="181"/>
                    <a:pt x="1397" y="181"/>
                    <a:pt x="1397" y="181"/>
                  </a:cubicBezTo>
                  <a:cubicBezTo>
                    <a:pt x="1366" y="90"/>
                    <a:pt x="1366" y="90"/>
                    <a:pt x="1366" y="90"/>
                  </a:cubicBezTo>
                  <a:cubicBezTo>
                    <a:pt x="1362" y="79"/>
                    <a:pt x="1350" y="73"/>
                    <a:pt x="1338" y="77"/>
                  </a:cubicBezTo>
                  <a:cubicBezTo>
                    <a:pt x="1327" y="80"/>
                    <a:pt x="1321" y="93"/>
                    <a:pt x="1325" y="104"/>
                  </a:cubicBezTo>
                  <a:cubicBezTo>
                    <a:pt x="1333" y="130"/>
                    <a:pt x="1333" y="130"/>
                    <a:pt x="1333" y="130"/>
                  </a:cubicBezTo>
                  <a:cubicBezTo>
                    <a:pt x="1202" y="45"/>
                    <a:pt x="1051" y="0"/>
                    <a:pt x="892" y="0"/>
                  </a:cubicBezTo>
                  <a:cubicBezTo>
                    <a:pt x="710" y="0"/>
                    <a:pt x="538" y="59"/>
                    <a:pt x="395" y="170"/>
                  </a:cubicBezTo>
                  <a:cubicBezTo>
                    <a:pt x="385" y="178"/>
                    <a:pt x="383" y="192"/>
                    <a:pt x="391" y="201"/>
                  </a:cubicBezTo>
                  <a:cubicBezTo>
                    <a:pt x="395" y="207"/>
                    <a:pt x="402" y="210"/>
                    <a:pt x="408" y="210"/>
                  </a:cubicBezTo>
                  <a:cubicBezTo>
                    <a:pt x="413" y="210"/>
                    <a:pt x="418" y="208"/>
                    <a:pt x="422" y="205"/>
                  </a:cubicBezTo>
                  <a:cubicBezTo>
                    <a:pt x="557" y="100"/>
                    <a:pt x="720" y="44"/>
                    <a:pt x="892" y="44"/>
                  </a:cubicBezTo>
                  <a:cubicBezTo>
                    <a:pt x="1043" y="44"/>
                    <a:pt x="1186" y="87"/>
                    <a:pt x="1311" y="168"/>
                  </a:cubicBezTo>
                  <a:cubicBezTo>
                    <a:pt x="1280" y="169"/>
                    <a:pt x="1280" y="169"/>
                    <a:pt x="1280" y="169"/>
                  </a:cubicBezTo>
                  <a:cubicBezTo>
                    <a:pt x="1268" y="170"/>
                    <a:pt x="1258" y="180"/>
                    <a:pt x="1259" y="192"/>
                  </a:cubicBezTo>
                  <a:cubicBezTo>
                    <a:pt x="1259" y="204"/>
                    <a:pt x="1269" y="213"/>
                    <a:pt x="1281" y="213"/>
                  </a:cubicBezTo>
                  <a:cubicBezTo>
                    <a:pt x="1281" y="213"/>
                    <a:pt x="1281" y="213"/>
                    <a:pt x="1282" y="213"/>
                  </a:cubicBezTo>
                  <a:cubicBezTo>
                    <a:pt x="1377" y="210"/>
                    <a:pt x="1377" y="210"/>
                    <a:pt x="1377" y="210"/>
                  </a:cubicBezTo>
                  <a:cubicBezTo>
                    <a:pt x="1377" y="210"/>
                    <a:pt x="1378" y="210"/>
                    <a:pt x="1378" y="209"/>
                  </a:cubicBezTo>
                  <a:cubicBezTo>
                    <a:pt x="1379" y="209"/>
                    <a:pt x="1379" y="209"/>
                    <a:pt x="1379" y="209"/>
                  </a:cubicBezTo>
                  <a:cubicBezTo>
                    <a:pt x="1380" y="209"/>
                    <a:pt x="1381" y="209"/>
                    <a:pt x="1383" y="209"/>
                  </a:cubicBezTo>
                  <a:cubicBezTo>
                    <a:pt x="1383" y="209"/>
                    <a:pt x="1383" y="208"/>
                    <a:pt x="1383" y="208"/>
                  </a:cubicBezTo>
                  <a:cubicBezTo>
                    <a:pt x="1384" y="208"/>
                    <a:pt x="1385" y="207"/>
                    <a:pt x="1387" y="207"/>
                  </a:cubicBezTo>
                  <a:cubicBezTo>
                    <a:pt x="1387" y="207"/>
                    <a:pt x="1387" y="207"/>
                    <a:pt x="1387" y="207"/>
                  </a:cubicBezTo>
                  <a:cubicBezTo>
                    <a:pt x="1388" y="206"/>
                    <a:pt x="1389" y="205"/>
                    <a:pt x="1390" y="204"/>
                  </a:cubicBezTo>
                  <a:cubicBezTo>
                    <a:pt x="1390" y="204"/>
                    <a:pt x="1390" y="204"/>
                    <a:pt x="1390" y="204"/>
                  </a:cubicBezTo>
                  <a:cubicBezTo>
                    <a:pt x="1391" y="203"/>
                    <a:pt x="1392" y="202"/>
                    <a:pt x="1393" y="201"/>
                  </a:cubicBezTo>
                  <a:cubicBezTo>
                    <a:pt x="1393" y="201"/>
                    <a:pt x="1393" y="201"/>
                    <a:pt x="1393" y="201"/>
                  </a:cubicBezTo>
                  <a:cubicBezTo>
                    <a:pt x="1393" y="201"/>
                    <a:pt x="1393" y="201"/>
                    <a:pt x="1393" y="201"/>
                  </a:cubicBezTo>
                  <a:cubicBezTo>
                    <a:pt x="1394" y="201"/>
                    <a:pt x="1394" y="200"/>
                    <a:pt x="1394" y="200"/>
                  </a:cubicBezTo>
                  <a:cubicBezTo>
                    <a:pt x="1395" y="199"/>
                    <a:pt x="1395" y="198"/>
                    <a:pt x="1395" y="197"/>
                  </a:cubicBezTo>
                  <a:cubicBezTo>
                    <a:pt x="1396" y="197"/>
                    <a:pt x="1396" y="197"/>
                    <a:pt x="1396" y="197"/>
                  </a:cubicBezTo>
                  <a:cubicBezTo>
                    <a:pt x="1396" y="196"/>
                    <a:pt x="1397" y="195"/>
                    <a:pt x="1397" y="193"/>
                  </a:cubicBezTo>
                  <a:close/>
                  <a:moveTo>
                    <a:pt x="1180" y="483"/>
                  </a:moveTo>
                  <a:cubicBezTo>
                    <a:pt x="1325" y="744"/>
                    <a:pt x="1695" y="891"/>
                    <a:pt x="1695" y="891"/>
                  </a:cubicBezTo>
                  <a:cubicBezTo>
                    <a:pt x="1751" y="1021"/>
                    <a:pt x="1566" y="1128"/>
                    <a:pt x="1584" y="1149"/>
                  </a:cubicBezTo>
                  <a:cubicBezTo>
                    <a:pt x="1602" y="1170"/>
                    <a:pt x="2121" y="1036"/>
                    <a:pt x="1884" y="545"/>
                  </a:cubicBezTo>
                  <a:cubicBezTo>
                    <a:pt x="1832" y="438"/>
                    <a:pt x="1708" y="327"/>
                    <a:pt x="1502" y="327"/>
                  </a:cubicBezTo>
                  <a:cubicBezTo>
                    <a:pt x="1267" y="327"/>
                    <a:pt x="1170" y="434"/>
                    <a:pt x="1180" y="48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0140615-3ADC-4437-984C-29A4CEE2A3D4}"/>
              </a:ext>
            </a:extLst>
          </p:cNvPr>
          <p:cNvGrpSpPr>
            <a:grpSpLocks noChangeAspect="1"/>
          </p:cNvGrpSpPr>
          <p:nvPr/>
        </p:nvGrpSpPr>
        <p:grpSpPr>
          <a:xfrm>
            <a:off x="6417571" y="2711551"/>
            <a:ext cx="828493" cy="828492"/>
            <a:chOff x="5273675" y="2611438"/>
            <a:chExt cx="1646238" cy="1646237"/>
          </a:xfrm>
        </p:grpSpPr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EF8A3DBF-BF00-413F-B47E-327076A72C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11438"/>
              <a:ext cx="1646238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C21B951C-EBB8-42E5-B9E3-9B9D874CAF7F}"/>
                </a:ext>
              </a:extLst>
            </p:cNvPr>
            <p:cNvGrpSpPr/>
            <p:nvPr/>
          </p:nvGrpSpPr>
          <p:grpSpPr>
            <a:xfrm>
              <a:off x="5443538" y="3003550"/>
              <a:ext cx="1306513" cy="860425"/>
              <a:chOff x="5443538" y="3003550"/>
              <a:chExt cx="1306513" cy="860425"/>
            </a:xfrm>
          </p:grpSpPr>
          <p:sp>
            <p:nvSpPr>
              <p:cNvPr id="70" name="Freeform 12">
                <a:extLst>
                  <a:ext uri="{FF2B5EF4-FFF2-40B4-BE49-F238E27FC236}">
                    <a16:creationId xmlns:a16="http://schemas.microsoft.com/office/drawing/2014/main" id="{3D731530-978E-4969-A520-B26191CE8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3003550"/>
                <a:ext cx="1306513" cy="860425"/>
              </a:xfrm>
              <a:custGeom>
                <a:avLst/>
                <a:gdLst>
                  <a:gd name="connsiteX0" fmla="*/ 1036637 w 1306513"/>
                  <a:gd name="connsiteY0" fmla="*/ 366713 h 860425"/>
                  <a:gd name="connsiteX1" fmla="*/ 1036637 w 1306513"/>
                  <a:gd name="connsiteY1" fmla="*/ 828675 h 860425"/>
                  <a:gd name="connsiteX2" fmla="*/ 1122362 w 1306513"/>
                  <a:gd name="connsiteY2" fmla="*/ 828675 h 860425"/>
                  <a:gd name="connsiteX3" fmla="*/ 1122362 w 1306513"/>
                  <a:gd name="connsiteY3" fmla="*/ 366713 h 860425"/>
                  <a:gd name="connsiteX4" fmla="*/ 1036637 w 1306513"/>
                  <a:gd name="connsiteY4" fmla="*/ 366713 h 860425"/>
                  <a:gd name="connsiteX5" fmla="*/ 177800 w 1306513"/>
                  <a:gd name="connsiteY5" fmla="*/ 366713 h 860425"/>
                  <a:gd name="connsiteX6" fmla="*/ 177800 w 1306513"/>
                  <a:gd name="connsiteY6" fmla="*/ 828675 h 860425"/>
                  <a:gd name="connsiteX7" fmla="*/ 263525 w 1306513"/>
                  <a:gd name="connsiteY7" fmla="*/ 828675 h 860425"/>
                  <a:gd name="connsiteX8" fmla="*/ 263525 w 1306513"/>
                  <a:gd name="connsiteY8" fmla="*/ 366713 h 860425"/>
                  <a:gd name="connsiteX9" fmla="*/ 177800 w 1306513"/>
                  <a:gd name="connsiteY9" fmla="*/ 366713 h 860425"/>
                  <a:gd name="connsiteX10" fmla="*/ 83353 w 1306513"/>
                  <a:gd name="connsiteY10" fmla="*/ 31750 h 860425"/>
                  <a:gd name="connsiteX11" fmla="*/ 33337 w 1306513"/>
                  <a:gd name="connsiteY11" fmla="*/ 78948 h 860425"/>
                  <a:gd name="connsiteX12" fmla="*/ 33337 w 1306513"/>
                  <a:gd name="connsiteY12" fmla="*/ 287764 h 860425"/>
                  <a:gd name="connsiteX13" fmla="*/ 83353 w 1306513"/>
                  <a:gd name="connsiteY13" fmla="*/ 334962 h 860425"/>
                  <a:gd name="connsiteX14" fmla="*/ 1221571 w 1306513"/>
                  <a:gd name="connsiteY14" fmla="*/ 334962 h 860425"/>
                  <a:gd name="connsiteX15" fmla="*/ 1271587 w 1306513"/>
                  <a:gd name="connsiteY15" fmla="*/ 287764 h 860425"/>
                  <a:gd name="connsiteX16" fmla="*/ 1271587 w 1306513"/>
                  <a:gd name="connsiteY16" fmla="*/ 78948 h 860425"/>
                  <a:gd name="connsiteX17" fmla="*/ 1221571 w 1306513"/>
                  <a:gd name="connsiteY17" fmla="*/ 31750 h 860425"/>
                  <a:gd name="connsiteX18" fmla="*/ 83353 w 1306513"/>
                  <a:gd name="connsiteY18" fmla="*/ 31750 h 860425"/>
                  <a:gd name="connsiteX19" fmla="*/ 83623 w 1306513"/>
                  <a:gd name="connsiteY19" fmla="*/ 0 h 860425"/>
                  <a:gd name="connsiteX20" fmla="*/ 1222176 w 1306513"/>
                  <a:gd name="connsiteY20" fmla="*/ 0 h 860425"/>
                  <a:gd name="connsiteX21" fmla="*/ 1306513 w 1306513"/>
                  <a:gd name="connsiteY21" fmla="*/ 78610 h 860425"/>
                  <a:gd name="connsiteX22" fmla="*/ 1306513 w 1306513"/>
                  <a:gd name="connsiteY22" fmla="*/ 287285 h 860425"/>
                  <a:gd name="connsiteX23" fmla="*/ 1222176 w 1306513"/>
                  <a:gd name="connsiteY23" fmla="*/ 365895 h 860425"/>
                  <a:gd name="connsiteX24" fmla="*/ 1154277 w 1306513"/>
                  <a:gd name="connsiteY24" fmla="*/ 365895 h 860425"/>
                  <a:gd name="connsiteX25" fmla="*/ 1154277 w 1306513"/>
                  <a:gd name="connsiteY25" fmla="*/ 828981 h 860425"/>
                  <a:gd name="connsiteX26" fmla="*/ 1189299 w 1306513"/>
                  <a:gd name="connsiteY26" fmla="*/ 828981 h 860425"/>
                  <a:gd name="connsiteX27" fmla="*/ 1205023 w 1306513"/>
                  <a:gd name="connsiteY27" fmla="*/ 844703 h 860425"/>
                  <a:gd name="connsiteX28" fmla="*/ 1189299 w 1306513"/>
                  <a:gd name="connsiteY28" fmla="*/ 860425 h 860425"/>
                  <a:gd name="connsiteX29" fmla="*/ 974882 w 1306513"/>
                  <a:gd name="connsiteY29" fmla="*/ 860425 h 860425"/>
                  <a:gd name="connsiteX30" fmla="*/ 959158 w 1306513"/>
                  <a:gd name="connsiteY30" fmla="*/ 844703 h 860425"/>
                  <a:gd name="connsiteX31" fmla="*/ 974882 w 1306513"/>
                  <a:gd name="connsiteY31" fmla="*/ 828981 h 860425"/>
                  <a:gd name="connsiteX32" fmla="*/ 1005615 w 1306513"/>
                  <a:gd name="connsiteY32" fmla="*/ 828981 h 860425"/>
                  <a:gd name="connsiteX33" fmla="*/ 1005615 w 1306513"/>
                  <a:gd name="connsiteY33" fmla="*/ 365895 h 860425"/>
                  <a:gd name="connsiteX34" fmla="*/ 294466 w 1306513"/>
                  <a:gd name="connsiteY34" fmla="*/ 365895 h 860425"/>
                  <a:gd name="connsiteX35" fmla="*/ 294466 w 1306513"/>
                  <a:gd name="connsiteY35" fmla="*/ 828981 h 860425"/>
                  <a:gd name="connsiteX36" fmla="*/ 328773 w 1306513"/>
                  <a:gd name="connsiteY36" fmla="*/ 828981 h 860425"/>
                  <a:gd name="connsiteX37" fmla="*/ 344497 w 1306513"/>
                  <a:gd name="connsiteY37" fmla="*/ 844703 h 860425"/>
                  <a:gd name="connsiteX38" fmla="*/ 328773 w 1306513"/>
                  <a:gd name="connsiteY38" fmla="*/ 860425 h 860425"/>
                  <a:gd name="connsiteX39" fmla="*/ 114356 w 1306513"/>
                  <a:gd name="connsiteY39" fmla="*/ 860425 h 860425"/>
                  <a:gd name="connsiteX40" fmla="*/ 98632 w 1306513"/>
                  <a:gd name="connsiteY40" fmla="*/ 844703 h 860425"/>
                  <a:gd name="connsiteX41" fmla="*/ 114356 w 1306513"/>
                  <a:gd name="connsiteY41" fmla="*/ 828981 h 860425"/>
                  <a:gd name="connsiteX42" fmla="*/ 145804 w 1306513"/>
                  <a:gd name="connsiteY42" fmla="*/ 828981 h 860425"/>
                  <a:gd name="connsiteX43" fmla="*/ 145804 w 1306513"/>
                  <a:gd name="connsiteY43" fmla="*/ 365895 h 860425"/>
                  <a:gd name="connsiteX44" fmla="*/ 83623 w 1306513"/>
                  <a:gd name="connsiteY44" fmla="*/ 365895 h 860425"/>
                  <a:gd name="connsiteX45" fmla="*/ 0 w 1306513"/>
                  <a:gd name="connsiteY45" fmla="*/ 287285 h 860425"/>
                  <a:gd name="connsiteX46" fmla="*/ 0 w 1306513"/>
                  <a:gd name="connsiteY46" fmla="*/ 78610 h 860425"/>
                  <a:gd name="connsiteX47" fmla="*/ 83623 w 1306513"/>
                  <a:gd name="connsiteY47" fmla="*/ 0 h 860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306513" h="860425">
                    <a:moveTo>
                      <a:pt x="1036637" y="366713"/>
                    </a:moveTo>
                    <a:cubicBezTo>
                      <a:pt x="1036637" y="366713"/>
                      <a:pt x="1036637" y="366713"/>
                      <a:pt x="1036637" y="828675"/>
                    </a:cubicBezTo>
                    <a:cubicBezTo>
                      <a:pt x="1036637" y="828675"/>
                      <a:pt x="1036637" y="828675"/>
                      <a:pt x="1122362" y="828675"/>
                    </a:cubicBezTo>
                    <a:cubicBezTo>
                      <a:pt x="1122362" y="828675"/>
                      <a:pt x="1122362" y="828675"/>
                      <a:pt x="1122362" y="366713"/>
                    </a:cubicBezTo>
                    <a:cubicBezTo>
                      <a:pt x="1122362" y="366713"/>
                      <a:pt x="1122362" y="366713"/>
                      <a:pt x="1036637" y="366713"/>
                    </a:cubicBezTo>
                    <a:close/>
                    <a:moveTo>
                      <a:pt x="177800" y="366713"/>
                    </a:moveTo>
                    <a:cubicBezTo>
                      <a:pt x="177800" y="366713"/>
                      <a:pt x="177800" y="366713"/>
                      <a:pt x="177800" y="828675"/>
                    </a:cubicBezTo>
                    <a:cubicBezTo>
                      <a:pt x="177800" y="828675"/>
                      <a:pt x="177800" y="828675"/>
                      <a:pt x="263525" y="828675"/>
                    </a:cubicBezTo>
                    <a:cubicBezTo>
                      <a:pt x="263525" y="828675"/>
                      <a:pt x="263525" y="828675"/>
                      <a:pt x="263525" y="366713"/>
                    </a:cubicBezTo>
                    <a:cubicBezTo>
                      <a:pt x="263525" y="366713"/>
                      <a:pt x="263525" y="366713"/>
                      <a:pt x="177800" y="366713"/>
                    </a:cubicBezTo>
                    <a:close/>
                    <a:moveTo>
                      <a:pt x="83353" y="31750"/>
                    </a:moveTo>
                    <a:cubicBezTo>
                      <a:pt x="55487" y="31750"/>
                      <a:pt x="33337" y="52489"/>
                      <a:pt x="33337" y="78948"/>
                    </a:cubicBezTo>
                    <a:cubicBezTo>
                      <a:pt x="33337" y="78948"/>
                      <a:pt x="33337" y="78948"/>
                      <a:pt x="33337" y="287764"/>
                    </a:cubicBezTo>
                    <a:cubicBezTo>
                      <a:pt x="33337" y="313508"/>
                      <a:pt x="55487" y="334962"/>
                      <a:pt x="83353" y="334962"/>
                    </a:cubicBezTo>
                    <a:cubicBezTo>
                      <a:pt x="83353" y="334962"/>
                      <a:pt x="83353" y="334962"/>
                      <a:pt x="1221571" y="334962"/>
                    </a:cubicBezTo>
                    <a:cubicBezTo>
                      <a:pt x="1249437" y="334962"/>
                      <a:pt x="1271587" y="313508"/>
                      <a:pt x="1271587" y="287764"/>
                    </a:cubicBezTo>
                    <a:cubicBezTo>
                      <a:pt x="1271587" y="287764"/>
                      <a:pt x="1271587" y="287764"/>
                      <a:pt x="1271587" y="78948"/>
                    </a:cubicBezTo>
                    <a:cubicBezTo>
                      <a:pt x="1271587" y="52489"/>
                      <a:pt x="1249437" y="31750"/>
                      <a:pt x="1221571" y="31750"/>
                    </a:cubicBezTo>
                    <a:cubicBezTo>
                      <a:pt x="1221571" y="31750"/>
                      <a:pt x="1221571" y="31750"/>
                      <a:pt x="83353" y="31750"/>
                    </a:cubicBezTo>
                    <a:close/>
                    <a:moveTo>
                      <a:pt x="83623" y="0"/>
                    </a:moveTo>
                    <a:cubicBezTo>
                      <a:pt x="83623" y="0"/>
                      <a:pt x="83623" y="0"/>
                      <a:pt x="1222176" y="0"/>
                    </a:cubicBezTo>
                    <a:cubicBezTo>
                      <a:pt x="1268633" y="0"/>
                      <a:pt x="1306513" y="35017"/>
                      <a:pt x="1306513" y="78610"/>
                    </a:cubicBezTo>
                    <a:cubicBezTo>
                      <a:pt x="1306513" y="78610"/>
                      <a:pt x="1306513" y="78610"/>
                      <a:pt x="1306513" y="287285"/>
                    </a:cubicBezTo>
                    <a:cubicBezTo>
                      <a:pt x="1306513" y="330163"/>
                      <a:pt x="1268633" y="365895"/>
                      <a:pt x="1222176" y="365895"/>
                    </a:cubicBezTo>
                    <a:cubicBezTo>
                      <a:pt x="1222176" y="365895"/>
                      <a:pt x="1222176" y="365895"/>
                      <a:pt x="1154277" y="365895"/>
                    </a:cubicBezTo>
                    <a:cubicBezTo>
                      <a:pt x="1154277" y="365895"/>
                      <a:pt x="1154277" y="365895"/>
                      <a:pt x="1154277" y="828981"/>
                    </a:cubicBezTo>
                    <a:cubicBezTo>
                      <a:pt x="1154277" y="828981"/>
                      <a:pt x="1154277" y="828981"/>
                      <a:pt x="1189299" y="828981"/>
                    </a:cubicBezTo>
                    <a:cubicBezTo>
                      <a:pt x="1197875" y="828981"/>
                      <a:pt x="1205023" y="836127"/>
                      <a:pt x="1205023" y="844703"/>
                    </a:cubicBezTo>
                    <a:cubicBezTo>
                      <a:pt x="1205023" y="853279"/>
                      <a:pt x="1197875" y="860425"/>
                      <a:pt x="1189299" y="860425"/>
                    </a:cubicBezTo>
                    <a:cubicBezTo>
                      <a:pt x="1189299" y="860425"/>
                      <a:pt x="1189299" y="860425"/>
                      <a:pt x="974882" y="860425"/>
                    </a:cubicBezTo>
                    <a:cubicBezTo>
                      <a:pt x="966305" y="860425"/>
                      <a:pt x="959158" y="853279"/>
                      <a:pt x="959158" y="844703"/>
                    </a:cubicBezTo>
                    <a:cubicBezTo>
                      <a:pt x="959158" y="836127"/>
                      <a:pt x="966305" y="828981"/>
                      <a:pt x="974882" y="828981"/>
                    </a:cubicBezTo>
                    <a:cubicBezTo>
                      <a:pt x="974882" y="828981"/>
                      <a:pt x="974882" y="828981"/>
                      <a:pt x="1005615" y="828981"/>
                    </a:cubicBezTo>
                    <a:cubicBezTo>
                      <a:pt x="1005615" y="828981"/>
                      <a:pt x="1005615" y="828981"/>
                      <a:pt x="1005615" y="365895"/>
                    </a:cubicBezTo>
                    <a:cubicBezTo>
                      <a:pt x="1005615" y="365895"/>
                      <a:pt x="1005615" y="365895"/>
                      <a:pt x="294466" y="365895"/>
                    </a:cubicBezTo>
                    <a:cubicBezTo>
                      <a:pt x="294466" y="365895"/>
                      <a:pt x="294466" y="365895"/>
                      <a:pt x="294466" y="828981"/>
                    </a:cubicBezTo>
                    <a:cubicBezTo>
                      <a:pt x="294466" y="828981"/>
                      <a:pt x="294466" y="828981"/>
                      <a:pt x="328773" y="828981"/>
                    </a:cubicBezTo>
                    <a:cubicBezTo>
                      <a:pt x="337349" y="828981"/>
                      <a:pt x="344497" y="836127"/>
                      <a:pt x="344497" y="844703"/>
                    </a:cubicBezTo>
                    <a:cubicBezTo>
                      <a:pt x="344497" y="853279"/>
                      <a:pt x="337349" y="860425"/>
                      <a:pt x="328773" y="860425"/>
                    </a:cubicBezTo>
                    <a:cubicBezTo>
                      <a:pt x="328773" y="860425"/>
                      <a:pt x="328773" y="860425"/>
                      <a:pt x="114356" y="860425"/>
                    </a:cubicBezTo>
                    <a:cubicBezTo>
                      <a:pt x="105779" y="860425"/>
                      <a:pt x="98632" y="853279"/>
                      <a:pt x="98632" y="844703"/>
                    </a:cubicBezTo>
                    <a:cubicBezTo>
                      <a:pt x="98632" y="836127"/>
                      <a:pt x="105779" y="828981"/>
                      <a:pt x="114356" y="828981"/>
                    </a:cubicBezTo>
                    <a:cubicBezTo>
                      <a:pt x="114356" y="828981"/>
                      <a:pt x="114356" y="828981"/>
                      <a:pt x="145804" y="828981"/>
                    </a:cubicBezTo>
                    <a:cubicBezTo>
                      <a:pt x="145804" y="828981"/>
                      <a:pt x="145804" y="828981"/>
                      <a:pt x="145804" y="365895"/>
                    </a:cubicBezTo>
                    <a:cubicBezTo>
                      <a:pt x="145804" y="365895"/>
                      <a:pt x="145804" y="365895"/>
                      <a:pt x="83623" y="365895"/>
                    </a:cubicBezTo>
                    <a:cubicBezTo>
                      <a:pt x="37166" y="365895"/>
                      <a:pt x="0" y="330163"/>
                      <a:pt x="0" y="287285"/>
                    </a:cubicBezTo>
                    <a:cubicBezTo>
                      <a:pt x="0" y="287285"/>
                      <a:pt x="0" y="287285"/>
                      <a:pt x="0" y="78610"/>
                    </a:cubicBezTo>
                    <a:cubicBezTo>
                      <a:pt x="0" y="35017"/>
                      <a:pt x="37166" y="0"/>
                      <a:pt x="8362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1" name="Freeform 9">
                <a:extLst>
                  <a:ext uri="{FF2B5EF4-FFF2-40B4-BE49-F238E27FC236}">
                    <a16:creationId xmlns:a16="http://schemas.microsoft.com/office/drawing/2014/main" id="{98043280-AF46-4807-874A-624EDADBBF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0213" y="3065463"/>
                <a:ext cx="1173163" cy="241300"/>
              </a:xfrm>
              <a:custGeom>
                <a:avLst/>
                <a:gdLst>
                  <a:gd name="T0" fmla="*/ 485 w 1640"/>
                  <a:gd name="T1" fmla="*/ 0 h 338"/>
                  <a:gd name="T2" fmla="*/ 223 w 1640"/>
                  <a:gd name="T3" fmla="*/ 338 h 338"/>
                  <a:gd name="T4" fmla="*/ 607 w 1640"/>
                  <a:gd name="T5" fmla="*/ 338 h 338"/>
                  <a:gd name="T6" fmla="*/ 870 w 1640"/>
                  <a:gd name="T7" fmla="*/ 0 h 338"/>
                  <a:gd name="T8" fmla="*/ 485 w 1640"/>
                  <a:gd name="T9" fmla="*/ 0 h 338"/>
                  <a:gd name="T10" fmla="*/ 485 w 1640"/>
                  <a:gd name="T11" fmla="*/ 0 h 338"/>
                  <a:gd name="T12" fmla="*/ 22 w 1640"/>
                  <a:gd name="T13" fmla="*/ 0 h 338"/>
                  <a:gd name="T14" fmla="*/ 0 w 1640"/>
                  <a:gd name="T15" fmla="*/ 22 h 338"/>
                  <a:gd name="T16" fmla="*/ 0 w 1640"/>
                  <a:gd name="T17" fmla="*/ 316 h 338"/>
                  <a:gd name="T18" fmla="*/ 22 w 1640"/>
                  <a:gd name="T19" fmla="*/ 338 h 338"/>
                  <a:gd name="T20" fmla="*/ 72 w 1640"/>
                  <a:gd name="T21" fmla="*/ 338 h 338"/>
                  <a:gd name="T22" fmla="*/ 334 w 1640"/>
                  <a:gd name="T23" fmla="*/ 0 h 338"/>
                  <a:gd name="T24" fmla="*/ 22 w 1640"/>
                  <a:gd name="T25" fmla="*/ 0 h 338"/>
                  <a:gd name="T26" fmla="*/ 22 w 1640"/>
                  <a:gd name="T27" fmla="*/ 0 h 338"/>
                  <a:gd name="T28" fmla="*/ 1618 w 1640"/>
                  <a:gd name="T29" fmla="*/ 0 h 338"/>
                  <a:gd name="T30" fmla="*/ 1555 w 1640"/>
                  <a:gd name="T31" fmla="*/ 0 h 338"/>
                  <a:gd name="T32" fmla="*/ 1293 w 1640"/>
                  <a:gd name="T33" fmla="*/ 338 h 338"/>
                  <a:gd name="T34" fmla="*/ 1618 w 1640"/>
                  <a:gd name="T35" fmla="*/ 338 h 338"/>
                  <a:gd name="T36" fmla="*/ 1640 w 1640"/>
                  <a:gd name="T37" fmla="*/ 316 h 338"/>
                  <a:gd name="T38" fmla="*/ 1640 w 1640"/>
                  <a:gd name="T39" fmla="*/ 22 h 338"/>
                  <a:gd name="T40" fmla="*/ 1618 w 1640"/>
                  <a:gd name="T41" fmla="*/ 0 h 338"/>
                  <a:gd name="T42" fmla="*/ 1021 w 1640"/>
                  <a:gd name="T43" fmla="*/ 0 h 338"/>
                  <a:gd name="T44" fmla="*/ 758 w 1640"/>
                  <a:gd name="T45" fmla="*/ 338 h 338"/>
                  <a:gd name="T46" fmla="*/ 1142 w 1640"/>
                  <a:gd name="T47" fmla="*/ 338 h 338"/>
                  <a:gd name="T48" fmla="*/ 1405 w 1640"/>
                  <a:gd name="T49" fmla="*/ 0 h 338"/>
                  <a:gd name="T50" fmla="*/ 1021 w 1640"/>
                  <a:gd name="T51" fmla="*/ 0 h 338"/>
                  <a:gd name="T52" fmla="*/ 1021 w 1640"/>
                  <a:gd name="T53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40" h="338">
                    <a:moveTo>
                      <a:pt x="485" y="0"/>
                    </a:moveTo>
                    <a:cubicBezTo>
                      <a:pt x="223" y="338"/>
                      <a:pt x="223" y="338"/>
                      <a:pt x="223" y="338"/>
                    </a:cubicBezTo>
                    <a:cubicBezTo>
                      <a:pt x="607" y="338"/>
                      <a:pt x="607" y="338"/>
                      <a:pt x="607" y="338"/>
                    </a:cubicBezTo>
                    <a:cubicBezTo>
                      <a:pt x="870" y="0"/>
                      <a:pt x="870" y="0"/>
                      <a:pt x="870" y="0"/>
                    </a:cubicBezTo>
                    <a:cubicBezTo>
                      <a:pt x="485" y="0"/>
                      <a:pt x="485" y="0"/>
                      <a:pt x="485" y="0"/>
                    </a:cubicBezTo>
                    <a:cubicBezTo>
                      <a:pt x="485" y="0"/>
                      <a:pt x="485" y="0"/>
                      <a:pt x="485" y="0"/>
                    </a:cubicBezTo>
                    <a:close/>
                    <a:moveTo>
                      <a:pt x="22" y="0"/>
                    </a:moveTo>
                    <a:cubicBezTo>
                      <a:pt x="10" y="0"/>
                      <a:pt x="0" y="10"/>
                      <a:pt x="0" y="22"/>
                    </a:cubicBezTo>
                    <a:cubicBezTo>
                      <a:pt x="0" y="316"/>
                      <a:pt x="0" y="316"/>
                      <a:pt x="0" y="316"/>
                    </a:cubicBezTo>
                    <a:cubicBezTo>
                      <a:pt x="0" y="328"/>
                      <a:pt x="10" y="338"/>
                      <a:pt x="22" y="338"/>
                    </a:cubicBezTo>
                    <a:cubicBezTo>
                      <a:pt x="72" y="338"/>
                      <a:pt x="72" y="338"/>
                      <a:pt x="72" y="338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0"/>
                      <a:pt x="22" y="0"/>
                      <a:pt x="22" y="0"/>
                    </a:cubicBezTo>
                    <a:close/>
                    <a:moveTo>
                      <a:pt x="1618" y="0"/>
                    </a:moveTo>
                    <a:cubicBezTo>
                      <a:pt x="1555" y="0"/>
                      <a:pt x="1555" y="0"/>
                      <a:pt x="1555" y="0"/>
                    </a:cubicBezTo>
                    <a:cubicBezTo>
                      <a:pt x="1293" y="338"/>
                      <a:pt x="1293" y="338"/>
                      <a:pt x="1293" y="338"/>
                    </a:cubicBezTo>
                    <a:cubicBezTo>
                      <a:pt x="1618" y="338"/>
                      <a:pt x="1618" y="338"/>
                      <a:pt x="1618" y="338"/>
                    </a:cubicBezTo>
                    <a:cubicBezTo>
                      <a:pt x="1631" y="338"/>
                      <a:pt x="1640" y="328"/>
                      <a:pt x="1640" y="316"/>
                    </a:cubicBezTo>
                    <a:cubicBezTo>
                      <a:pt x="1640" y="22"/>
                      <a:pt x="1640" y="22"/>
                      <a:pt x="1640" y="22"/>
                    </a:cubicBezTo>
                    <a:cubicBezTo>
                      <a:pt x="1640" y="10"/>
                      <a:pt x="1631" y="0"/>
                      <a:pt x="1618" y="0"/>
                    </a:cubicBezTo>
                    <a:close/>
                    <a:moveTo>
                      <a:pt x="1021" y="0"/>
                    </a:moveTo>
                    <a:cubicBezTo>
                      <a:pt x="758" y="338"/>
                      <a:pt x="758" y="338"/>
                      <a:pt x="758" y="338"/>
                    </a:cubicBezTo>
                    <a:cubicBezTo>
                      <a:pt x="1142" y="338"/>
                      <a:pt x="1142" y="338"/>
                      <a:pt x="1142" y="338"/>
                    </a:cubicBezTo>
                    <a:cubicBezTo>
                      <a:pt x="1405" y="0"/>
                      <a:pt x="1405" y="0"/>
                      <a:pt x="1405" y="0"/>
                    </a:cubicBezTo>
                    <a:cubicBezTo>
                      <a:pt x="1021" y="0"/>
                      <a:pt x="1021" y="0"/>
                      <a:pt x="1021" y="0"/>
                    </a:cubicBezTo>
                    <a:cubicBezTo>
                      <a:pt x="1021" y="0"/>
                      <a:pt x="1021" y="0"/>
                      <a:pt x="1021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9D8A200-67E5-41E6-A978-695745135B4A}"/>
              </a:ext>
            </a:extLst>
          </p:cNvPr>
          <p:cNvGrpSpPr>
            <a:grpSpLocks noChangeAspect="1"/>
          </p:cNvGrpSpPr>
          <p:nvPr/>
        </p:nvGrpSpPr>
        <p:grpSpPr>
          <a:xfrm>
            <a:off x="4157754" y="3839979"/>
            <a:ext cx="828492" cy="828492"/>
            <a:chOff x="1113743" y="1826004"/>
            <a:chExt cx="1644650" cy="1644650"/>
          </a:xfrm>
        </p:grpSpPr>
        <p:sp>
          <p:nvSpPr>
            <p:cNvPr id="73" name="AutoShape 76">
              <a:extLst>
                <a:ext uri="{FF2B5EF4-FFF2-40B4-BE49-F238E27FC236}">
                  <a16:creationId xmlns:a16="http://schemas.microsoft.com/office/drawing/2014/main" id="{23263BFB-B0E5-4400-BC88-3F65F67DFBB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113743" y="1826004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4CA23766-2ACC-4E66-AF58-557C6D908958}"/>
                </a:ext>
              </a:extLst>
            </p:cNvPr>
            <p:cNvGrpSpPr/>
            <p:nvPr/>
          </p:nvGrpSpPr>
          <p:grpSpPr>
            <a:xfrm>
              <a:off x="1197881" y="1983167"/>
              <a:ext cx="1473200" cy="1328738"/>
              <a:chOff x="1197881" y="1983167"/>
              <a:chExt cx="1473200" cy="1328738"/>
            </a:xfrm>
          </p:grpSpPr>
          <p:sp>
            <p:nvSpPr>
              <p:cNvPr id="75" name="Freeform 78">
                <a:extLst>
                  <a:ext uri="{FF2B5EF4-FFF2-40B4-BE49-F238E27FC236}">
                    <a16:creationId xmlns:a16="http://schemas.microsoft.com/office/drawing/2014/main" id="{F2328C64-BB1F-48C8-BA5E-586D66F66B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97881" y="1983167"/>
                <a:ext cx="1473200" cy="1328738"/>
              </a:xfrm>
              <a:custGeom>
                <a:avLst/>
                <a:gdLst>
                  <a:gd name="T0" fmla="*/ 1947 w 2063"/>
                  <a:gd name="T1" fmla="*/ 1052 h 1862"/>
                  <a:gd name="T2" fmla="*/ 1832 w 2063"/>
                  <a:gd name="T3" fmla="*/ 936 h 1862"/>
                  <a:gd name="T4" fmla="*/ 1947 w 2063"/>
                  <a:gd name="T5" fmla="*/ 820 h 1862"/>
                  <a:gd name="T6" fmla="*/ 2063 w 2063"/>
                  <a:gd name="T7" fmla="*/ 936 h 1862"/>
                  <a:gd name="T8" fmla="*/ 1947 w 2063"/>
                  <a:gd name="T9" fmla="*/ 1052 h 1862"/>
                  <a:gd name="T10" fmla="*/ 232 w 2063"/>
                  <a:gd name="T11" fmla="*/ 936 h 1862"/>
                  <a:gd name="T12" fmla="*/ 116 w 2063"/>
                  <a:gd name="T13" fmla="*/ 820 h 1862"/>
                  <a:gd name="T14" fmla="*/ 0 w 2063"/>
                  <a:gd name="T15" fmla="*/ 936 h 1862"/>
                  <a:gd name="T16" fmla="*/ 116 w 2063"/>
                  <a:gd name="T17" fmla="*/ 1052 h 1862"/>
                  <a:gd name="T18" fmla="*/ 232 w 2063"/>
                  <a:gd name="T19" fmla="*/ 936 h 1862"/>
                  <a:gd name="T20" fmla="*/ 1594 w 2063"/>
                  <a:gd name="T21" fmla="*/ 116 h 1862"/>
                  <a:gd name="T22" fmla="*/ 1478 w 2063"/>
                  <a:gd name="T23" fmla="*/ 0 h 1862"/>
                  <a:gd name="T24" fmla="*/ 1363 w 2063"/>
                  <a:gd name="T25" fmla="*/ 116 h 1862"/>
                  <a:gd name="T26" fmla="*/ 1478 w 2063"/>
                  <a:gd name="T27" fmla="*/ 232 h 1862"/>
                  <a:gd name="T28" fmla="*/ 1594 w 2063"/>
                  <a:gd name="T29" fmla="*/ 116 h 1862"/>
                  <a:gd name="T30" fmla="*/ 655 w 2063"/>
                  <a:gd name="T31" fmla="*/ 116 h 1862"/>
                  <a:gd name="T32" fmla="*/ 539 w 2063"/>
                  <a:gd name="T33" fmla="*/ 0 h 1862"/>
                  <a:gd name="T34" fmla="*/ 424 w 2063"/>
                  <a:gd name="T35" fmla="*/ 116 h 1862"/>
                  <a:gd name="T36" fmla="*/ 539 w 2063"/>
                  <a:gd name="T37" fmla="*/ 232 h 1862"/>
                  <a:gd name="T38" fmla="*/ 655 w 2063"/>
                  <a:gd name="T39" fmla="*/ 116 h 1862"/>
                  <a:gd name="T40" fmla="*/ 1594 w 2063"/>
                  <a:gd name="T41" fmla="*/ 1746 h 1862"/>
                  <a:gd name="T42" fmla="*/ 1478 w 2063"/>
                  <a:gd name="T43" fmla="*/ 1630 h 1862"/>
                  <a:gd name="T44" fmla="*/ 1363 w 2063"/>
                  <a:gd name="T45" fmla="*/ 1746 h 1862"/>
                  <a:gd name="T46" fmla="*/ 1478 w 2063"/>
                  <a:gd name="T47" fmla="*/ 1862 h 1862"/>
                  <a:gd name="T48" fmla="*/ 1594 w 2063"/>
                  <a:gd name="T49" fmla="*/ 1746 h 1862"/>
                  <a:gd name="T50" fmla="*/ 655 w 2063"/>
                  <a:gd name="T51" fmla="*/ 1746 h 1862"/>
                  <a:gd name="T52" fmla="*/ 539 w 2063"/>
                  <a:gd name="T53" fmla="*/ 1630 h 1862"/>
                  <a:gd name="T54" fmla="*/ 424 w 2063"/>
                  <a:gd name="T55" fmla="*/ 1746 h 1862"/>
                  <a:gd name="T56" fmla="*/ 539 w 2063"/>
                  <a:gd name="T57" fmla="*/ 1862 h 1862"/>
                  <a:gd name="T58" fmla="*/ 655 w 2063"/>
                  <a:gd name="T59" fmla="*/ 1746 h 1862"/>
                  <a:gd name="T60" fmla="*/ 732 w 2063"/>
                  <a:gd name="T61" fmla="*/ 927 h 1862"/>
                  <a:gd name="T62" fmla="*/ 1012 w 2063"/>
                  <a:gd name="T63" fmla="*/ 1205 h 1862"/>
                  <a:gd name="T64" fmla="*/ 1295 w 2063"/>
                  <a:gd name="T65" fmla="*/ 927 h 1862"/>
                  <a:gd name="T66" fmla="*/ 1012 w 2063"/>
                  <a:gd name="T67" fmla="*/ 650 h 1862"/>
                  <a:gd name="T68" fmla="*/ 732 w 2063"/>
                  <a:gd name="T69" fmla="*/ 927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63" h="1862">
                    <a:moveTo>
                      <a:pt x="1947" y="1052"/>
                    </a:moveTo>
                    <a:cubicBezTo>
                      <a:pt x="1884" y="1052"/>
                      <a:pt x="1832" y="1000"/>
                      <a:pt x="1832" y="936"/>
                    </a:cubicBezTo>
                    <a:cubicBezTo>
                      <a:pt x="1832" y="871"/>
                      <a:pt x="1884" y="820"/>
                      <a:pt x="1947" y="820"/>
                    </a:cubicBezTo>
                    <a:cubicBezTo>
                      <a:pt x="2011" y="820"/>
                      <a:pt x="2063" y="871"/>
                      <a:pt x="2063" y="936"/>
                    </a:cubicBezTo>
                    <a:cubicBezTo>
                      <a:pt x="2063" y="1000"/>
                      <a:pt x="2011" y="1052"/>
                      <a:pt x="1947" y="1052"/>
                    </a:cubicBezTo>
                    <a:close/>
                    <a:moveTo>
                      <a:pt x="232" y="936"/>
                    </a:moveTo>
                    <a:cubicBezTo>
                      <a:pt x="232" y="871"/>
                      <a:pt x="180" y="820"/>
                      <a:pt x="116" y="820"/>
                    </a:cubicBezTo>
                    <a:cubicBezTo>
                      <a:pt x="52" y="820"/>
                      <a:pt x="0" y="871"/>
                      <a:pt x="0" y="936"/>
                    </a:cubicBezTo>
                    <a:cubicBezTo>
                      <a:pt x="0" y="1000"/>
                      <a:pt x="52" y="1052"/>
                      <a:pt x="116" y="1052"/>
                    </a:cubicBezTo>
                    <a:cubicBezTo>
                      <a:pt x="180" y="1052"/>
                      <a:pt x="232" y="1000"/>
                      <a:pt x="232" y="936"/>
                    </a:cubicBezTo>
                    <a:close/>
                    <a:moveTo>
                      <a:pt x="1594" y="116"/>
                    </a:moveTo>
                    <a:cubicBezTo>
                      <a:pt x="1594" y="52"/>
                      <a:pt x="1542" y="0"/>
                      <a:pt x="1478" y="0"/>
                    </a:cubicBezTo>
                    <a:cubicBezTo>
                      <a:pt x="1415" y="0"/>
                      <a:pt x="1363" y="52"/>
                      <a:pt x="1363" y="116"/>
                    </a:cubicBezTo>
                    <a:cubicBezTo>
                      <a:pt x="1363" y="180"/>
                      <a:pt x="1415" y="232"/>
                      <a:pt x="1478" y="232"/>
                    </a:cubicBezTo>
                    <a:cubicBezTo>
                      <a:pt x="1542" y="232"/>
                      <a:pt x="1594" y="180"/>
                      <a:pt x="1594" y="116"/>
                    </a:cubicBezTo>
                    <a:close/>
                    <a:moveTo>
                      <a:pt x="655" y="116"/>
                    </a:moveTo>
                    <a:cubicBezTo>
                      <a:pt x="655" y="52"/>
                      <a:pt x="603" y="0"/>
                      <a:pt x="539" y="0"/>
                    </a:cubicBezTo>
                    <a:cubicBezTo>
                      <a:pt x="475" y="0"/>
                      <a:pt x="424" y="52"/>
                      <a:pt x="424" y="116"/>
                    </a:cubicBezTo>
                    <a:cubicBezTo>
                      <a:pt x="424" y="180"/>
                      <a:pt x="475" y="232"/>
                      <a:pt x="539" y="232"/>
                    </a:cubicBezTo>
                    <a:cubicBezTo>
                      <a:pt x="603" y="232"/>
                      <a:pt x="655" y="180"/>
                      <a:pt x="655" y="116"/>
                    </a:cubicBezTo>
                    <a:close/>
                    <a:moveTo>
                      <a:pt x="1594" y="1746"/>
                    </a:moveTo>
                    <a:cubicBezTo>
                      <a:pt x="1594" y="1682"/>
                      <a:pt x="1542" y="1630"/>
                      <a:pt x="1478" y="1630"/>
                    </a:cubicBezTo>
                    <a:cubicBezTo>
                      <a:pt x="1415" y="1630"/>
                      <a:pt x="1363" y="1682"/>
                      <a:pt x="1363" y="1746"/>
                    </a:cubicBezTo>
                    <a:cubicBezTo>
                      <a:pt x="1363" y="1810"/>
                      <a:pt x="1415" y="1862"/>
                      <a:pt x="1478" y="1862"/>
                    </a:cubicBezTo>
                    <a:cubicBezTo>
                      <a:pt x="1542" y="1862"/>
                      <a:pt x="1594" y="1810"/>
                      <a:pt x="1594" y="1746"/>
                    </a:cubicBezTo>
                    <a:close/>
                    <a:moveTo>
                      <a:pt x="655" y="1746"/>
                    </a:moveTo>
                    <a:cubicBezTo>
                      <a:pt x="655" y="1682"/>
                      <a:pt x="603" y="1630"/>
                      <a:pt x="539" y="1630"/>
                    </a:cubicBezTo>
                    <a:cubicBezTo>
                      <a:pt x="475" y="1630"/>
                      <a:pt x="424" y="1682"/>
                      <a:pt x="424" y="1746"/>
                    </a:cubicBezTo>
                    <a:cubicBezTo>
                      <a:pt x="424" y="1810"/>
                      <a:pt x="475" y="1862"/>
                      <a:pt x="539" y="1862"/>
                    </a:cubicBezTo>
                    <a:cubicBezTo>
                      <a:pt x="603" y="1862"/>
                      <a:pt x="655" y="1810"/>
                      <a:pt x="655" y="1746"/>
                    </a:cubicBezTo>
                    <a:close/>
                    <a:moveTo>
                      <a:pt x="732" y="927"/>
                    </a:moveTo>
                    <a:cubicBezTo>
                      <a:pt x="732" y="1081"/>
                      <a:pt x="858" y="1205"/>
                      <a:pt x="1012" y="1205"/>
                    </a:cubicBezTo>
                    <a:cubicBezTo>
                      <a:pt x="1169" y="1205"/>
                      <a:pt x="1295" y="1081"/>
                      <a:pt x="1295" y="927"/>
                    </a:cubicBezTo>
                    <a:cubicBezTo>
                      <a:pt x="1295" y="774"/>
                      <a:pt x="1169" y="650"/>
                      <a:pt x="1012" y="650"/>
                    </a:cubicBezTo>
                    <a:cubicBezTo>
                      <a:pt x="858" y="650"/>
                      <a:pt x="732" y="774"/>
                      <a:pt x="732" y="92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79">
                <a:extLst>
                  <a:ext uri="{FF2B5EF4-FFF2-40B4-BE49-F238E27FC236}">
                    <a16:creationId xmlns:a16="http://schemas.microsoft.com/office/drawing/2014/main" id="{70C78A5F-FD2D-4F3D-9A87-5A593530BC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1068" y="2049842"/>
                <a:ext cx="1265238" cy="1195388"/>
              </a:xfrm>
              <a:custGeom>
                <a:avLst/>
                <a:gdLst>
                  <a:gd name="T0" fmla="*/ 1175 w 1772"/>
                  <a:gd name="T1" fmla="*/ 44 h 1674"/>
                  <a:gd name="T2" fmla="*/ 554 w 1772"/>
                  <a:gd name="T3" fmla="*/ 22 h 1674"/>
                  <a:gd name="T4" fmla="*/ 1175 w 1772"/>
                  <a:gd name="T5" fmla="*/ 0 h 1674"/>
                  <a:gd name="T6" fmla="*/ 1768 w 1772"/>
                  <a:gd name="T7" fmla="*/ 686 h 1674"/>
                  <a:gd name="T8" fmla="*/ 1406 w 1772"/>
                  <a:gd name="T9" fmla="*/ 164 h 1674"/>
                  <a:gd name="T10" fmla="*/ 1768 w 1772"/>
                  <a:gd name="T11" fmla="*/ 686 h 1674"/>
                  <a:gd name="T12" fmla="*/ 1194 w 1772"/>
                  <a:gd name="T13" fmla="*/ 818 h 1674"/>
                  <a:gd name="T14" fmla="*/ 1193 w 1772"/>
                  <a:gd name="T15" fmla="*/ 862 h 1674"/>
                  <a:gd name="T16" fmla="*/ 1643 w 1772"/>
                  <a:gd name="T17" fmla="*/ 842 h 1674"/>
                  <a:gd name="T18" fmla="*/ 1045 w 1772"/>
                  <a:gd name="T19" fmla="*/ 564 h 1674"/>
                  <a:gd name="T20" fmla="*/ 1231 w 1772"/>
                  <a:gd name="T21" fmla="*/ 144 h 1674"/>
                  <a:gd name="T22" fmla="*/ 1045 w 1772"/>
                  <a:gd name="T23" fmla="*/ 564 h 1674"/>
                  <a:gd name="T24" fmla="*/ 485 w 1772"/>
                  <a:gd name="T25" fmla="*/ 153 h 1674"/>
                  <a:gd name="T26" fmla="*/ 677 w 1772"/>
                  <a:gd name="T27" fmla="*/ 574 h 1674"/>
                  <a:gd name="T28" fmla="*/ 1445 w 1772"/>
                  <a:gd name="T29" fmla="*/ 1538 h 1674"/>
                  <a:gd name="T30" fmla="*/ 1730 w 1772"/>
                  <a:gd name="T31" fmla="*/ 984 h 1674"/>
                  <a:gd name="T32" fmla="*/ 1445 w 1772"/>
                  <a:gd name="T33" fmla="*/ 1538 h 1674"/>
                  <a:gd name="T34" fmla="*/ 1035 w 1772"/>
                  <a:gd name="T35" fmla="*/ 1109 h 1674"/>
                  <a:gd name="T36" fmla="*/ 1228 w 1772"/>
                  <a:gd name="T37" fmla="*/ 1532 h 1674"/>
                  <a:gd name="T38" fmla="*/ 1175 w 1772"/>
                  <a:gd name="T39" fmla="*/ 1630 h 1674"/>
                  <a:gd name="T40" fmla="*/ 554 w 1772"/>
                  <a:gd name="T41" fmla="*/ 1652 h 1674"/>
                  <a:gd name="T42" fmla="*/ 1175 w 1772"/>
                  <a:gd name="T43" fmla="*/ 1674 h 1674"/>
                  <a:gd name="T44" fmla="*/ 1175 w 1772"/>
                  <a:gd name="T45" fmla="*/ 1630 h 1674"/>
                  <a:gd name="T46" fmla="*/ 730 w 1772"/>
                  <a:gd name="T47" fmla="*/ 1125 h 1674"/>
                  <a:gd name="T48" fmla="*/ 466 w 1772"/>
                  <a:gd name="T49" fmla="*/ 1508 h 1674"/>
                  <a:gd name="T50" fmla="*/ 417 w 1772"/>
                  <a:gd name="T51" fmla="*/ 776 h 1674"/>
                  <a:gd name="T52" fmla="*/ 395 w 1772"/>
                  <a:gd name="T53" fmla="*/ 182 h 1674"/>
                  <a:gd name="T54" fmla="*/ 373 w 1772"/>
                  <a:gd name="T55" fmla="*/ 776 h 1674"/>
                  <a:gd name="T56" fmla="*/ 417 w 1772"/>
                  <a:gd name="T57" fmla="*/ 776 h 1674"/>
                  <a:gd name="T58" fmla="*/ 372 w 1772"/>
                  <a:gd name="T59" fmla="*/ 1493 h 1674"/>
                  <a:gd name="T60" fmla="*/ 416 w 1772"/>
                  <a:gd name="T61" fmla="*/ 1493 h 1674"/>
                  <a:gd name="T62" fmla="*/ 373 w 1772"/>
                  <a:gd name="T63" fmla="*/ 908 h 1674"/>
                  <a:gd name="T64" fmla="*/ 130 w 1772"/>
                  <a:gd name="T65" fmla="*/ 821 h 1674"/>
                  <a:gd name="T66" fmla="*/ 130 w 1772"/>
                  <a:gd name="T67" fmla="*/ 865 h 1674"/>
                  <a:gd name="T68" fmla="*/ 543 w 1772"/>
                  <a:gd name="T69" fmla="*/ 833 h 1674"/>
                  <a:gd name="T70" fmla="*/ 130 w 1772"/>
                  <a:gd name="T71" fmla="*/ 821 h 1674"/>
                  <a:gd name="T72" fmla="*/ 54 w 1772"/>
                  <a:gd name="T73" fmla="*/ 705 h 1674"/>
                  <a:gd name="T74" fmla="*/ 306 w 1772"/>
                  <a:gd name="T75" fmla="*/ 155 h 1674"/>
                  <a:gd name="T76" fmla="*/ 54 w 1772"/>
                  <a:gd name="T77" fmla="*/ 705 h 1674"/>
                  <a:gd name="T78" fmla="*/ 0 w 1772"/>
                  <a:gd name="T79" fmla="*/ 999 h 1674"/>
                  <a:gd name="T80" fmla="*/ 340 w 1772"/>
                  <a:gd name="T81" fmla="*/ 1502 h 1674"/>
                  <a:gd name="T82" fmla="*/ 42 w 1772"/>
                  <a:gd name="T83" fmla="*/ 985 h 1674"/>
                  <a:gd name="T84" fmla="*/ 1355 w 1772"/>
                  <a:gd name="T85" fmla="*/ 180 h 1674"/>
                  <a:gd name="T86" fmla="*/ 1311 w 1772"/>
                  <a:gd name="T87" fmla="*/ 180 h 1674"/>
                  <a:gd name="T88" fmla="*/ 1356 w 1772"/>
                  <a:gd name="T89" fmla="*/ 773 h 1674"/>
                  <a:gd name="T90" fmla="*/ 1334 w 1772"/>
                  <a:gd name="T91" fmla="*/ 1492 h 1674"/>
                  <a:gd name="T92" fmla="*/ 1356 w 1772"/>
                  <a:gd name="T93" fmla="*/ 905 h 1674"/>
                  <a:gd name="T94" fmla="*/ 1313 w 1772"/>
                  <a:gd name="T95" fmla="*/ 1493 h 1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72" h="1674">
                    <a:moveTo>
                      <a:pt x="1174" y="22"/>
                    </a:moveTo>
                    <a:cubicBezTo>
                      <a:pt x="1174" y="29"/>
                      <a:pt x="1174" y="36"/>
                      <a:pt x="1175" y="44"/>
                    </a:cubicBezTo>
                    <a:cubicBezTo>
                      <a:pt x="552" y="44"/>
                      <a:pt x="552" y="44"/>
                      <a:pt x="552" y="44"/>
                    </a:cubicBezTo>
                    <a:cubicBezTo>
                      <a:pt x="553" y="36"/>
                      <a:pt x="554" y="29"/>
                      <a:pt x="554" y="22"/>
                    </a:cubicBezTo>
                    <a:cubicBezTo>
                      <a:pt x="554" y="14"/>
                      <a:pt x="553" y="7"/>
                      <a:pt x="552" y="0"/>
                    </a:cubicBezTo>
                    <a:cubicBezTo>
                      <a:pt x="1175" y="0"/>
                      <a:pt x="1175" y="0"/>
                      <a:pt x="1175" y="0"/>
                    </a:cubicBezTo>
                    <a:cubicBezTo>
                      <a:pt x="1174" y="7"/>
                      <a:pt x="1174" y="14"/>
                      <a:pt x="1174" y="22"/>
                    </a:cubicBezTo>
                    <a:close/>
                    <a:moveTo>
                      <a:pt x="1768" y="686"/>
                    </a:moveTo>
                    <a:cubicBezTo>
                      <a:pt x="1442" y="139"/>
                      <a:pt x="1442" y="139"/>
                      <a:pt x="1442" y="139"/>
                    </a:cubicBezTo>
                    <a:cubicBezTo>
                      <a:pt x="1432" y="149"/>
                      <a:pt x="1420" y="157"/>
                      <a:pt x="1406" y="164"/>
                    </a:cubicBezTo>
                    <a:cubicBezTo>
                      <a:pt x="1726" y="701"/>
                      <a:pt x="1726" y="701"/>
                      <a:pt x="1726" y="701"/>
                    </a:cubicBezTo>
                    <a:cubicBezTo>
                      <a:pt x="1739" y="694"/>
                      <a:pt x="1753" y="689"/>
                      <a:pt x="1768" y="686"/>
                    </a:cubicBezTo>
                    <a:close/>
                    <a:moveTo>
                      <a:pt x="1645" y="816"/>
                    </a:moveTo>
                    <a:cubicBezTo>
                      <a:pt x="1194" y="818"/>
                      <a:pt x="1194" y="818"/>
                      <a:pt x="1194" y="818"/>
                    </a:cubicBezTo>
                    <a:cubicBezTo>
                      <a:pt x="1194" y="823"/>
                      <a:pt x="1194" y="828"/>
                      <a:pt x="1194" y="833"/>
                    </a:cubicBezTo>
                    <a:cubicBezTo>
                      <a:pt x="1194" y="843"/>
                      <a:pt x="1194" y="852"/>
                      <a:pt x="1193" y="862"/>
                    </a:cubicBezTo>
                    <a:cubicBezTo>
                      <a:pt x="1644" y="860"/>
                      <a:pt x="1644" y="860"/>
                      <a:pt x="1644" y="860"/>
                    </a:cubicBezTo>
                    <a:cubicBezTo>
                      <a:pt x="1644" y="854"/>
                      <a:pt x="1643" y="848"/>
                      <a:pt x="1643" y="842"/>
                    </a:cubicBezTo>
                    <a:cubicBezTo>
                      <a:pt x="1643" y="833"/>
                      <a:pt x="1644" y="825"/>
                      <a:pt x="1645" y="816"/>
                    </a:cubicBezTo>
                    <a:close/>
                    <a:moveTo>
                      <a:pt x="1045" y="564"/>
                    </a:moveTo>
                    <a:cubicBezTo>
                      <a:pt x="1268" y="167"/>
                      <a:pt x="1268" y="167"/>
                      <a:pt x="1268" y="167"/>
                    </a:cubicBezTo>
                    <a:cubicBezTo>
                      <a:pt x="1254" y="161"/>
                      <a:pt x="1242" y="153"/>
                      <a:pt x="1231" y="144"/>
                    </a:cubicBezTo>
                    <a:cubicBezTo>
                      <a:pt x="1006" y="543"/>
                      <a:pt x="1006" y="543"/>
                      <a:pt x="1006" y="543"/>
                    </a:cubicBezTo>
                    <a:cubicBezTo>
                      <a:pt x="1020" y="549"/>
                      <a:pt x="1033" y="556"/>
                      <a:pt x="1045" y="564"/>
                    </a:cubicBezTo>
                    <a:close/>
                    <a:moveTo>
                      <a:pt x="714" y="550"/>
                    </a:moveTo>
                    <a:cubicBezTo>
                      <a:pt x="485" y="153"/>
                      <a:pt x="485" y="153"/>
                      <a:pt x="485" y="153"/>
                    </a:cubicBezTo>
                    <a:cubicBezTo>
                      <a:pt x="474" y="161"/>
                      <a:pt x="461" y="168"/>
                      <a:pt x="447" y="173"/>
                    </a:cubicBezTo>
                    <a:cubicBezTo>
                      <a:pt x="677" y="574"/>
                      <a:pt x="677" y="574"/>
                      <a:pt x="677" y="574"/>
                    </a:cubicBezTo>
                    <a:cubicBezTo>
                      <a:pt x="688" y="565"/>
                      <a:pt x="701" y="557"/>
                      <a:pt x="714" y="550"/>
                    </a:cubicBezTo>
                    <a:close/>
                    <a:moveTo>
                      <a:pt x="1445" y="1538"/>
                    </a:moveTo>
                    <a:cubicBezTo>
                      <a:pt x="1772" y="999"/>
                      <a:pt x="1772" y="999"/>
                      <a:pt x="1772" y="999"/>
                    </a:cubicBezTo>
                    <a:cubicBezTo>
                      <a:pt x="1757" y="996"/>
                      <a:pt x="1743" y="991"/>
                      <a:pt x="1730" y="984"/>
                    </a:cubicBezTo>
                    <a:cubicBezTo>
                      <a:pt x="1410" y="1512"/>
                      <a:pt x="1410" y="1512"/>
                      <a:pt x="1410" y="1512"/>
                    </a:cubicBezTo>
                    <a:cubicBezTo>
                      <a:pt x="1424" y="1519"/>
                      <a:pt x="1435" y="1528"/>
                      <a:pt x="1445" y="1538"/>
                    </a:cubicBezTo>
                    <a:close/>
                    <a:moveTo>
                      <a:pt x="1264" y="1508"/>
                    </a:moveTo>
                    <a:cubicBezTo>
                      <a:pt x="1035" y="1109"/>
                      <a:pt x="1035" y="1109"/>
                      <a:pt x="1035" y="1109"/>
                    </a:cubicBezTo>
                    <a:cubicBezTo>
                      <a:pt x="1022" y="1117"/>
                      <a:pt x="1009" y="1123"/>
                      <a:pt x="996" y="1129"/>
                    </a:cubicBezTo>
                    <a:cubicBezTo>
                      <a:pt x="1228" y="1532"/>
                      <a:pt x="1228" y="1532"/>
                      <a:pt x="1228" y="1532"/>
                    </a:cubicBezTo>
                    <a:cubicBezTo>
                      <a:pt x="1239" y="1522"/>
                      <a:pt x="1251" y="1514"/>
                      <a:pt x="1264" y="1508"/>
                    </a:cubicBezTo>
                    <a:close/>
                    <a:moveTo>
                      <a:pt x="1175" y="1630"/>
                    </a:moveTo>
                    <a:cubicBezTo>
                      <a:pt x="552" y="1630"/>
                      <a:pt x="552" y="1630"/>
                      <a:pt x="552" y="1630"/>
                    </a:cubicBezTo>
                    <a:cubicBezTo>
                      <a:pt x="553" y="1637"/>
                      <a:pt x="554" y="1644"/>
                      <a:pt x="554" y="1652"/>
                    </a:cubicBezTo>
                    <a:cubicBezTo>
                      <a:pt x="554" y="1659"/>
                      <a:pt x="553" y="1667"/>
                      <a:pt x="552" y="1674"/>
                    </a:cubicBezTo>
                    <a:cubicBezTo>
                      <a:pt x="1175" y="1674"/>
                      <a:pt x="1175" y="1674"/>
                      <a:pt x="1175" y="1674"/>
                    </a:cubicBezTo>
                    <a:cubicBezTo>
                      <a:pt x="1174" y="1667"/>
                      <a:pt x="1174" y="1659"/>
                      <a:pt x="1174" y="1652"/>
                    </a:cubicBezTo>
                    <a:cubicBezTo>
                      <a:pt x="1174" y="1644"/>
                      <a:pt x="1174" y="1637"/>
                      <a:pt x="1175" y="1630"/>
                    </a:cubicBezTo>
                    <a:close/>
                    <a:moveTo>
                      <a:pt x="501" y="1533"/>
                    </a:moveTo>
                    <a:cubicBezTo>
                      <a:pt x="730" y="1125"/>
                      <a:pt x="730" y="1125"/>
                      <a:pt x="730" y="1125"/>
                    </a:cubicBezTo>
                    <a:cubicBezTo>
                      <a:pt x="717" y="1119"/>
                      <a:pt x="704" y="1111"/>
                      <a:pt x="692" y="1104"/>
                    </a:cubicBezTo>
                    <a:cubicBezTo>
                      <a:pt x="466" y="1508"/>
                      <a:pt x="466" y="1508"/>
                      <a:pt x="466" y="1508"/>
                    </a:cubicBezTo>
                    <a:cubicBezTo>
                      <a:pt x="479" y="1515"/>
                      <a:pt x="490" y="1523"/>
                      <a:pt x="501" y="1533"/>
                    </a:cubicBezTo>
                    <a:close/>
                    <a:moveTo>
                      <a:pt x="417" y="776"/>
                    </a:moveTo>
                    <a:cubicBezTo>
                      <a:pt x="418" y="180"/>
                      <a:pt x="418" y="180"/>
                      <a:pt x="418" y="180"/>
                    </a:cubicBezTo>
                    <a:cubicBezTo>
                      <a:pt x="410" y="181"/>
                      <a:pt x="403" y="182"/>
                      <a:pt x="395" y="182"/>
                    </a:cubicBezTo>
                    <a:cubicBezTo>
                      <a:pt x="388" y="182"/>
                      <a:pt x="381" y="181"/>
                      <a:pt x="374" y="180"/>
                    </a:cubicBezTo>
                    <a:cubicBezTo>
                      <a:pt x="373" y="776"/>
                      <a:pt x="373" y="776"/>
                      <a:pt x="373" y="776"/>
                    </a:cubicBezTo>
                    <a:cubicBezTo>
                      <a:pt x="417" y="776"/>
                      <a:pt x="417" y="776"/>
                      <a:pt x="417" y="776"/>
                    </a:cubicBezTo>
                    <a:cubicBezTo>
                      <a:pt x="417" y="776"/>
                      <a:pt x="417" y="776"/>
                      <a:pt x="417" y="776"/>
                    </a:cubicBezTo>
                    <a:close/>
                    <a:moveTo>
                      <a:pt x="373" y="908"/>
                    </a:moveTo>
                    <a:cubicBezTo>
                      <a:pt x="372" y="1493"/>
                      <a:pt x="372" y="1493"/>
                      <a:pt x="372" y="1493"/>
                    </a:cubicBezTo>
                    <a:cubicBezTo>
                      <a:pt x="379" y="1492"/>
                      <a:pt x="387" y="1492"/>
                      <a:pt x="395" y="1492"/>
                    </a:cubicBezTo>
                    <a:cubicBezTo>
                      <a:pt x="402" y="1492"/>
                      <a:pt x="409" y="1492"/>
                      <a:pt x="416" y="1493"/>
                    </a:cubicBezTo>
                    <a:cubicBezTo>
                      <a:pt x="417" y="908"/>
                      <a:pt x="417" y="908"/>
                      <a:pt x="417" y="908"/>
                    </a:cubicBezTo>
                    <a:cubicBezTo>
                      <a:pt x="373" y="908"/>
                      <a:pt x="373" y="908"/>
                      <a:pt x="373" y="908"/>
                    </a:cubicBezTo>
                    <a:cubicBezTo>
                      <a:pt x="373" y="908"/>
                      <a:pt x="373" y="908"/>
                      <a:pt x="373" y="908"/>
                    </a:cubicBezTo>
                    <a:close/>
                    <a:moveTo>
                      <a:pt x="130" y="821"/>
                    </a:moveTo>
                    <a:cubicBezTo>
                      <a:pt x="131" y="828"/>
                      <a:pt x="131" y="835"/>
                      <a:pt x="131" y="842"/>
                    </a:cubicBezTo>
                    <a:cubicBezTo>
                      <a:pt x="131" y="850"/>
                      <a:pt x="131" y="857"/>
                      <a:pt x="130" y="865"/>
                    </a:cubicBezTo>
                    <a:cubicBezTo>
                      <a:pt x="544" y="864"/>
                      <a:pt x="544" y="864"/>
                      <a:pt x="544" y="864"/>
                    </a:cubicBezTo>
                    <a:cubicBezTo>
                      <a:pt x="543" y="854"/>
                      <a:pt x="543" y="843"/>
                      <a:pt x="543" y="833"/>
                    </a:cubicBezTo>
                    <a:cubicBezTo>
                      <a:pt x="543" y="829"/>
                      <a:pt x="543" y="824"/>
                      <a:pt x="543" y="820"/>
                    </a:cubicBezTo>
                    <a:cubicBezTo>
                      <a:pt x="130" y="821"/>
                      <a:pt x="130" y="821"/>
                      <a:pt x="130" y="821"/>
                    </a:cubicBezTo>
                    <a:cubicBezTo>
                      <a:pt x="130" y="821"/>
                      <a:pt x="130" y="821"/>
                      <a:pt x="130" y="821"/>
                    </a:cubicBezTo>
                    <a:close/>
                    <a:moveTo>
                      <a:pt x="54" y="705"/>
                    </a:moveTo>
                    <a:cubicBezTo>
                      <a:pt x="346" y="174"/>
                      <a:pt x="346" y="174"/>
                      <a:pt x="346" y="174"/>
                    </a:cubicBezTo>
                    <a:cubicBezTo>
                      <a:pt x="332" y="169"/>
                      <a:pt x="318" y="163"/>
                      <a:pt x="306" y="155"/>
                    </a:cubicBezTo>
                    <a:cubicBezTo>
                      <a:pt x="13" y="687"/>
                      <a:pt x="13" y="687"/>
                      <a:pt x="13" y="687"/>
                    </a:cubicBezTo>
                    <a:cubicBezTo>
                      <a:pt x="28" y="691"/>
                      <a:pt x="42" y="697"/>
                      <a:pt x="54" y="705"/>
                    </a:cubicBezTo>
                    <a:close/>
                    <a:moveTo>
                      <a:pt x="42" y="985"/>
                    </a:moveTo>
                    <a:cubicBezTo>
                      <a:pt x="28" y="992"/>
                      <a:pt x="14" y="997"/>
                      <a:pt x="0" y="999"/>
                    </a:cubicBezTo>
                    <a:cubicBezTo>
                      <a:pt x="301" y="1523"/>
                      <a:pt x="301" y="1523"/>
                      <a:pt x="301" y="1523"/>
                    </a:cubicBezTo>
                    <a:cubicBezTo>
                      <a:pt x="313" y="1514"/>
                      <a:pt x="326" y="1507"/>
                      <a:pt x="340" y="1502"/>
                    </a:cubicBezTo>
                    <a:cubicBezTo>
                      <a:pt x="42" y="985"/>
                      <a:pt x="42" y="985"/>
                      <a:pt x="42" y="985"/>
                    </a:cubicBezTo>
                    <a:cubicBezTo>
                      <a:pt x="42" y="985"/>
                      <a:pt x="42" y="985"/>
                      <a:pt x="42" y="985"/>
                    </a:cubicBezTo>
                    <a:close/>
                    <a:moveTo>
                      <a:pt x="1356" y="773"/>
                    </a:moveTo>
                    <a:cubicBezTo>
                      <a:pt x="1355" y="180"/>
                      <a:pt x="1355" y="180"/>
                      <a:pt x="1355" y="180"/>
                    </a:cubicBezTo>
                    <a:cubicBezTo>
                      <a:pt x="1348" y="181"/>
                      <a:pt x="1341" y="182"/>
                      <a:pt x="1334" y="182"/>
                    </a:cubicBezTo>
                    <a:cubicBezTo>
                      <a:pt x="1326" y="182"/>
                      <a:pt x="1318" y="181"/>
                      <a:pt x="1311" y="180"/>
                    </a:cubicBezTo>
                    <a:cubicBezTo>
                      <a:pt x="1312" y="773"/>
                      <a:pt x="1312" y="773"/>
                      <a:pt x="1312" y="773"/>
                    </a:cubicBezTo>
                    <a:cubicBezTo>
                      <a:pt x="1356" y="773"/>
                      <a:pt x="1356" y="773"/>
                      <a:pt x="1356" y="773"/>
                    </a:cubicBezTo>
                    <a:cubicBezTo>
                      <a:pt x="1356" y="773"/>
                      <a:pt x="1356" y="773"/>
                      <a:pt x="1356" y="773"/>
                    </a:cubicBezTo>
                    <a:close/>
                    <a:moveTo>
                      <a:pt x="1334" y="1492"/>
                    </a:moveTo>
                    <a:cubicBezTo>
                      <a:pt x="1341" y="1492"/>
                      <a:pt x="1349" y="1492"/>
                      <a:pt x="1357" y="1493"/>
                    </a:cubicBezTo>
                    <a:cubicBezTo>
                      <a:pt x="1356" y="905"/>
                      <a:pt x="1356" y="905"/>
                      <a:pt x="1356" y="905"/>
                    </a:cubicBezTo>
                    <a:cubicBezTo>
                      <a:pt x="1312" y="905"/>
                      <a:pt x="1312" y="905"/>
                      <a:pt x="1312" y="905"/>
                    </a:cubicBezTo>
                    <a:cubicBezTo>
                      <a:pt x="1313" y="1493"/>
                      <a:pt x="1313" y="1493"/>
                      <a:pt x="1313" y="1493"/>
                    </a:cubicBezTo>
                    <a:cubicBezTo>
                      <a:pt x="1319" y="1492"/>
                      <a:pt x="1326" y="1492"/>
                      <a:pt x="1334" y="149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NavigationTriangle">
            <a:extLst>
              <a:ext uri="{FF2B5EF4-FFF2-40B4-BE49-F238E27FC236}">
                <a16:creationId xmlns:a16="http://schemas.microsoft.com/office/drawing/2014/main" id="{943291A2-F238-4D52-BE96-AC4EDC51A132}"/>
              </a:ext>
            </a:extLst>
          </p:cNvPr>
          <p:cNvSpPr/>
          <p:nvPr/>
        </p:nvSpPr>
        <p:spPr>
          <a:xfrm rot="16200000">
            <a:off x="8080517" y="-37923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5EDC9D75-6D14-457B-AD15-77C25A2C3A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98692" y="53517"/>
            <a:ext cx="455613" cy="457200"/>
            <a:chOff x="5120" y="1668"/>
            <a:chExt cx="287" cy="288"/>
          </a:xfrm>
        </p:grpSpPr>
        <p:sp>
          <p:nvSpPr>
            <p:cNvPr id="80" name="AutoShape 49">
              <a:extLst>
                <a:ext uri="{FF2B5EF4-FFF2-40B4-BE49-F238E27FC236}">
                  <a16:creationId xmlns:a16="http://schemas.microsoft.com/office/drawing/2014/main" id="{097787D4-A5BE-4836-B855-272C35DC590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0" y="1668"/>
              <a:ext cx="28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1">
              <a:extLst>
                <a:ext uri="{FF2B5EF4-FFF2-40B4-BE49-F238E27FC236}">
                  <a16:creationId xmlns:a16="http://schemas.microsoft.com/office/drawing/2014/main" id="{3CF70CBF-63A7-4699-941C-0C474613F2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6" y="1720"/>
              <a:ext cx="255" cy="184"/>
            </a:xfrm>
            <a:custGeom>
              <a:avLst/>
              <a:gdLst>
                <a:gd name="T0" fmla="*/ 816 w 903"/>
                <a:gd name="T1" fmla="*/ 525 h 649"/>
                <a:gd name="T2" fmla="*/ 839 w 903"/>
                <a:gd name="T3" fmla="*/ 22 h 649"/>
                <a:gd name="T4" fmla="*/ 86 w 903"/>
                <a:gd name="T5" fmla="*/ 0 h 649"/>
                <a:gd name="T6" fmla="*/ 64 w 903"/>
                <a:gd name="T7" fmla="*/ 502 h 649"/>
                <a:gd name="T8" fmla="*/ 116 w 903"/>
                <a:gd name="T9" fmla="*/ 70 h 649"/>
                <a:gd name="T10" fmla="*/ 776 w 903"/>
                <a:gd name="T11" fmla="*/ 59 h 649"/>
                <a:gd name="T12" fmla="*/ 787 w 903"/>
                <a:gd name="T13" fmla="*/ 455 h 649"/>
                <a:gd name="T14" fmla="*/ 127 w 903"/>
                <a:gd name="T15" fmla="*/ 465 h 649"/>
                <a:gd name="T16" fmla="*/ 116 w 903"/>
                <a:gd name="T17" fmla="*/ 70 h 649"/>
                <a:gd name="T18" fmla="*/ 879 w 903"/>
                <a:gd name="T19" fmla="*/ 550 h 649"/>
                <a:gd name="T20" fmla="*/ 549 w 903"/>
                <a:gd name="T21" fmla="*/ 565 h 649"/>
                <a:gd name="T22" fmla="*/ 332 w 903"/>
                <a:gd name="T23" fmla="*/ 550 h 649"/>
                <a:gd name="T24" fmla="*/ 6 w 903"/>
                <a:gd name="T25" fmla="*/ 559 h 649"/>
                <a:gd name="T26" fmla="*/ 18 w 903"/>
                <a:gd name="T27" fmla="*/ 632 h 649"/>
                <a:gd name="T28" fmla="*/ 863 w 903"/>
                <a:gd name="T29" fmla="*/ 649 h 649"/>
                <a:gd name="T30" fmla="*/ 901 w 903"/>
                <a:gd name="T31" fmla="*/ 580 h 649"/>
                <a:gd name="T32" fmla="*/ 538 w 903"/>
                <a:gd name="T33" fmla="*/ 205 h 649"/>
                <a:gd name="T34" fmla="*/ 499 w 903"/>
                <a:gd name="T35" fmla="*/ 381 h 649"/>
                <a:gd name="T36" fmla="*/ 511 w 903"/>
                <a:gd name="T37" fmla="*/ 408 h 649"/>
                <a:gd name="T38" fmla="*/ 638 w 903"/>
                <a:gd name="T39" fmla="*/ 286 h 649"/>
                <a:gd name="T40" fmla="*/ 644 w 903"/>
                <a:gd name="T41" fmla="*/ 274 h 649"/>
                <a:gd name="T42" fmla="*/ 638 w 903"/>
                <a:gd name="T43" fmla="*/ 261 h 649"/>
                <a:gd name="T44" fmla="*/ 549 w 903"/>
                <a:gd name="T45" fmla="*/ 178 h 649"/>
                <a:gd name="T46" fmla="*/ 538 w 903"/>
                <a:gd name="T47" fmla="*/ 205 h 649"/>
                <a:gd name="T48" fmla="*/ 264 w 903"/>
                <a:gd name="T49" fmla="*/ 286 h 649"/>
                <a:gd name="T50" fmla="*/ 343 w 903"/>
                <a:gd name="T51" fmla="*/ 366 h 649"/>
                <a:gd name="T52" fmla="*/ 365 w 903"/>
                <a:gd name="T53" fmla="*/ 365 h 649"/>
                <a:gd name="T54" fmla="*/ 365 w 903"/>
                <a:gd name="T55" fmla="*/ 343 h 649"/>
                <a:gd name="T56" fmla="*/ 403 w 903"/>
                <a:gd name="T57" fmla="*/ 167 h 649"/>
                <a:gd name="T58" fmla="*/ 403 w 903"/>
                <a:gd name="T59" fmla="*/ 144 h 649"/>
                <a:gd name="T60" fmla="*/ 264 w 903"/>
                <a:gd name="T61" fmla="*/ 262 h 649"/>
                <a:gd name="T62" fmla="*/ 263 w 903"/>
                <a:gd name="T63" fmla="*/ 263 h 649"/>
                <a:gd name="T64" fmla="*/ 263 w 903"/>
                <a:gd name="T65" fmla="*/ 285 h 649"/>
                <a:gd name="T66" fmla="*/ 375 w 903"/>
                <a:gd name="T67" fmla="*/ 418 h 649"/>
                <a:gd name="T68" fmla="*/ 382 w 903"/>
                <a:gd name="T69" fmla="*/ 419 h 649"/>
                <a:gd name="T70" fmla="*/ 543 w 903"/>
                <a:gd name="T71" fmla="*/ 128 h 649"/>
                <a:gd name="T72" fmla="*/ 536 w 903"/>
                <a:gd name="T73" fmla="*/ 107 h 649"/>
                <a:gd name="T74" fmla="*/ 368 w 903"/>
                <a:gd name="T75" fmla="*/ 39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649">
                  <a:moveTo>
                    <a:pt x="86" y="525"/>
                  </a:moveTo>
                  <a:cubicBezTo>
                    <a:pt x="816" y="525"/>
                    <a:pt x="816" y="525"/>
                    <a:pt x="816" y="525"/>
                  </a:cubicBezTo>
                  <a:cubicBezTo>
                    <a:pt x="829" y="525"/>
                    <a:pt x="839" y="515"/>
                    <a:pt x="839" y="502"/>
                  </a:cubicBezTo>
                  <a:cubicBezTo>
                    <a:pt x="839" y="22"/>
                    <a:pt x="839" y="22"/>
                    <a:pt x="839" y="22"/>
                  </a:cubicBezTo>
                  <a:cubicBezTo>
                    <a:pt x="839" y="10"/>
                    <a:pt x="829" y="0"/>
                    <a:pt x="81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64" y="10"/>
                    <a:pt x="64" y="22"/>
                  </a:cubicBezTo>
                  <a:cubicBezTo>
                    <a:pt x="64" y="502"/>
                    <a:pt x="64" y="502"/>
                    <a:pt x="64" y="502"/>
                  </a:cubicBezTo>
                  <a:cubicBezTo>
                    <a:pt x="64" y="515"/>
                    <a:pt x="74" y="525"/>
                    <a:pt x="86" y="525"/>
                  </a:cubicBezTo>
                  <a:close/>
                  <a:moveTo>
                    <a:pt x="116" y="70"/>
                  </a:moveTo>
                  <a:cubicBezTo>
                    <a:pt x="116" y="64"/>
                    <a:pt x="120" y="59"/>
                    <a:pt x="127" y="59"/>
                  </a:cubicBezTo>
                  <a:cubicBezTo>
                    <a:pt x="776" y="59"/>
                    <a:pt x="776" y="59"/>
                    <a:pt x="776" y="59"/>
                  </a:cubicBezTo>
                  <a:cubicBezTo>
                    <a:pt x="782" y="59"/>
                    <a:pt x="787" y="64"/>
                    <a:pt x="787" y="70"/>
                  </a:cubicBezTo>
                  <a:cubicBezTo>
                    <a:pt x="787" y="455"/>
                    <a:pt x="787" y="455"/>
                    <a:pt x="787" y="455"/>
                  </a:cubicBezTo>
                  <a:cubicBezTo>
                    <a:pt x="787" y="461"/>
                    <a:pt x="782" y="465"/>
                    <a:pt x="776" y="465"/>
                  </a:cubicBezTo>
                  <a:cubicBezTo>
                    <a:pt x="127" y="465"/>
                    <a:pt x="127" y="465"/>
                    <a:pt x="127" y="465"/>
                  </a:cubicBezTo>
                  <a:cubicBezTo>
                    <a:pt x="120" y="465"/>
                    <a:pt x="116" y="461"/>
                    <a:pt x="116" y="455"/>
                  </a:cubicBezTo>
                  <a:cubicBezTo>
                    <a:pt x="116" y="70"/>
                    <a:pt x="116" y="70"/>
                    <a:pt x="116" y="70"/>
                  </a:cubicBezTo>
                  <a:close/>
                  <a:moveTo>
                    <a:pt x="897" y="559"/>
                  </a:moveTo>
                  <a:cubicBezTo>
                    <a:pt x="893" y="554"/>
                    <a:pt x="887" y="550"/>
                    <a:pt x="879" y="550"/>
                  </a:cubicBezTo>
                  <a:cubicBezTo>
                    <a:pt x="879" y="550"/>
                    <a:pt x="879" y="550"/>
                    <a:pt x="571" y="550"/>
                  </a:cubicBezTo>
                  <a:cubicBezTo>
                    <a:pt x="562" y="550"/>
                    <a:pt x="552" y="557"/>
                    <a:pt x="549" y="565"/>
                  </a:cubicBezTo>
                  <a:cubicBezTo>
                    <a:pt x="549" y="565"/>
                    <a:pt x="549" y="565"/>
                    <a:pt x="353" y="565"/>
                  </a:cubicBezTo>
                  <a:cubicBezTo>
                    <a:pt x="350" y="557"/>
                    <a:pt x="341" y="550"/>
                    <a:pt x="332" y="550"/>
                  </a:cubicBezTo>
                  <a:cubicBezTo>
                    <a:pt x="332" y="550"/>
                    <a:pt x="332" y="550"/>
                    <a:pt x="23" y="550"/>
                  </a:cubicBezTo>
                  <a:cubicBezTo>
                    <a:pt x="16" y="550"/>
                    <a:pt x="10" y="554"/>
                    <a:pt x="6" y="559"/>
                  </a:cubicBezTo>
                  <a:cubicBezTo>
                    <a:pt x="1" y="565"/>
                    <a:pt x="0" y="573"/>
                    <a:pt x="2" y="580"/>
                  </a:cubicBezTo>
                  <a:cubicBezTo>
                    <a:pt x="2" y="580"/>
                    <a:pt x="2" y="580"/>
                    <a:pt x="18" y="632"/>
                  </a:cubicBezTo>
                  <a:cubicBezTo>
                    <a:pt x="21" y="642"/>
                    <a:pt x="31" y="649"/>
                    <a:pt x="40" y="649"/>
                  </a:cubicBezTo>
                  <a:cubicBezTo>
                    <a:pt x="40" y="649"/>
                    <a:pt x="40" y="649"/>
                    <a:pt x="863" y="649"/>
                  </a:cubicBezTo>
                  <a:cubicBezTo>
                    <a:pt x="872" y="649"/>
                    <a:pt x="881" y="642"/>
                    <a:pt x="884" y="632"/>
                  </a:cubicBezTo>
                  <a:cubicBezTo>
                    <a:pt x="884" y="632"/>
                    <a:pt x="884" y="632"/>
                    <a:pt x="901" y="580"/>
                  </a:cubicBezTo>
                  <a:cubicBezTo>
                    <a:pt x="903" y="573"/>
                    <a:pt x="902" y="565"/>
                    <a:pt x="897" y="559"/>
                  </a:cubicBezTo>
                  <a:close/>
                  <a:moveTo>
                    <a:pt x="538" y="205"/>
                  </a:moveTo>
                  <a:cubicBezTo>
                    <a:pt x="606" y="274"/>
                    <a:pt x="606" y="274"/>
                    <a:pt x="606" y="274"/>
                  </a:cubicBezTo>
                  <a:cubicBezTo>
                    <a:pt x="499" y="381"/>
                    <a:pt x="499" y="381"/>
                    <a:pt x="499" y="381"/>
                  </a:cubicBezTo>
                  <a:cubicBezTo>
                    <a:pt x="493" y="387"/>
                    <a:pt x="494" y="397"/>
                    <a:pt x="499" y="403"/>
                  </a:cubicBezTo>
                  <a:cubicBezTo>
                    <a:pt x="502" y="406"/>
                    <a:pt x="507" y="408"/>
                    <a:pt x="511" y="408"/>
                  </a:cubicBezTo>
                  <a:cubicBezTo>
                    <a:pt x="514" y="408"/>
                    <a:pt x="518" y="406"/>
                    <a:pt x="521" y="403"/>
                  </a:cubicBezTo>
                  <a:cubicBezTo>
                    <a:pt x="638" y="286"/>
                    <a:pt x="638" y="286"/>
                    <a:pt x="638" y="286"/>
                  </a:cubicBezTo>
                  <a:cubicBezTo>
                    <a:pt x="638" y="286"/>
                    <a:pt x="639" y="285"/>
                    <a:pt x="639" y="285"/>
                  </a:cubicBezTo>
                  <a:cubicBezTo>
                    <a:pt x="643" y="282"/>
                    <a:pt x="644" y="278"/>
                    <a:pt x="644" y="274"/>
                  </a:cubicBezTo>
                  <a:cubicBezTo>
                    <a:pt x="644" y="269"/>
                    <a:pt x="643" y="266"/>
                    <a:pt x="640" y="263"/>
                  </a:cubicBezTo>
                  <a:cubicBezTo>
                    <a:pt x="639" y="262"/>
                    <a:pt x="639" y="262"/>
                    <a:pt x="638" y="261"/>
                  </a:cubicBezTo>
                  <a:cubicBezTo>
                    <a:pt x="560" y="183"/>
                    <a:pt x="560" y="183"/>
                    <a:pt x="560" y="183"/>
                  </a:cubicBezTo>
                  <a:cubicBezTo>
                    <a:pt x="557" y="180"/>
                    <a:pt x="553" y="178"/>
                    <a:pt x="549" y="178"/>
                  </a:cubicBezTo>
                  <a:cubicBezTo>
                    <a:pt x="545" y="178"/>
                    <a:pt x="541" y="180"/>
                    <a:pt x="538" y="183"/>
                  </a:cubicBezTo>
                  <a:cubicBezTo>
                    <a:pt x="532" y="189"/>
                    <a:pt x="532" y="198"/>
                    <a:pt x="538" y="205"/>
                  </a:cubicBezTo>
                  <a:close/>
                  <a:moveTo>
                    <a:pt x="263" y="285"/>
                  </a:moveTo>
                  <a:cubicBezTo>
                    <a:pt x="264" y="286"/>
                    <a:pt x="264" y="286"/>
                    <a:pt x="264" y="286"/>
                  </a:cubicBezTo>
                  <a:cubicBezTo>
                    <a:pt x="343" y="365"/>
                    <a:pt x="343" y="365"/>
                    <a:pt x="343" y="365"/>
                  </a:cubicBezTo>
                  <a:cubicBezTo>
                    <a:pt x="343" y="365"/>
                    <a:pt x="343" y="365"/>
                    <a:pt x="343" y="366"/>
                  </a:cubicBezTo>
                  <a:cubicBezTo>
                    <a:pt x="346" y="368"/>
                    <a:pt x="350" y="369"/>
                    <a:pt x="354" y="369"/>
                  </a:cubicBezTo>
                  <a:cubicBezTo>
                    <a:pt x="358" y="369"/>
                    <a:pt x="362" y="368"/>
                    <a:pt x="365" y="365"/>
                  </a:cubicBezTo>
                  <a:cubicBezTo>
                    <a:pt x="368" y="362"/>
                    <a:pt x="370" y="358"/>
                    <a:pt x="369" y="353"/>
                  </a:cubicBezTo>
                  <a:cubicBezTo>
                    <a:pt x="369" y="349"/>
                    <a:pt x="368" y="345"/>
                    <a:pt x="365" y="343"/>
                  </a:cubicBezTo>
                  <a:cubicBezTo>
                    <a:pt x="296" y="274"/>
                    <a:pt x="296" y="274"/>
                    <a:pt x="296" y="274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406" y="164"/>
                    <a:pt x="408" y="160"/>
                    <a:pt x="408" y="156"/>
                  </a:cubicBezTo>
                  <a:cubicBezTo>
                    <a:pt x="408" y="152"/>
                    <a:pt x="406" y="147"/>
                    <a:pt x="403" y="144"/>
                  </a:cubicBezTo>
                  <a:cubicBezTo>
                    <a:pt x="397" y="139"/>
                    <a:pt x="387" y="138"/>
                    <a:pt x="381" y="144"/>
                  </a:cubicBezTo>
                  <a:cubicBezTo>
                    <a:pt x="264" y="262"/>
                    <a:pt x="264" y="262"/>
                    <a:pt x="264" y="262"/>
                  </a:cubicBezTo>
                  <a:cubicBezTo>
                    <a:pt x="264" y="262"/>
                    <a:pt x="264" y="262"/>
                    <a:pt x="263" y="262"/>
                  </a:cubicBezTo>
                  <a:cubicBezTo>
                    <a:pt x="263" y="263"/>
                    <a:pt x="263" y="263"/>
                    <a:pt x="263" y="263"/>
                  </a:cubicBezTo>
                  <a:cubicBezTo>
                    <a:pt x="260" y="266"/>
                    <a:pt x="259" y="270"/>
                    <a:pt x="259" y="274"/>
                  </a:cubicBezTo>
                  <a:cubicBezTo>
                    <a:pt x="259" y="278"/>
                    <a:pt x="260" y="282"/>
                    <a:pt x="263" y="285"/>
                  </a:cubicBezTo>
                  <a:cubicBezTo>
                    <a:pt x="263" y="285"/>
                    <a:pt x="263" y="285"/>
                    <a:pt x="263" y="285"/>
                  </a:cubicBezTo>
                  <a:close/>
                  <a:moveTo>
                    <a:pt x="375" y="418"/>
                  </a:moveTo>
                  <a:cubicBezTo>
                    <a:pt x="375" y="418"/>
                    <a:pt x="375" y="418"/>
                    <a:pt x="376" y="418"/>
                  </a:cubicBezTo>
                  <a:cubicBezTo>
                    <a:pt x="377" y="419"/>
                    <a:pt x="379" y="419"/>
                    <a:pt x="382" y="419"/>
                  </a:cubicBezTo>
                  <a:cubicBezTo>
                    <a:pt x="388" y="419"/>
                    <a:pt x="393" y="416"/>
                    <a:pt x="396" y="411"/>
                  </a:cubicBezTo>
                  <a:cubicBezTo>
                    <a:pt x="543" y="128"/>
                    <a:pt x="543" y="128"/>
                    <a:pt x="543" y="128"/>
                  </a:cubicBezTo>
                  <a:cubicBezTo>
                    <a:pt x="547" y="121"/>
                    <a:pt x="545" y="111"/>
                    <a:pt x="537" y="107"/>
                  </a:cubicBezTo>
                  <a:cubicBezTo>
                    <a:pt x="537" y="107"/>
                    <a:pt x="536" y="107"/>
                    <a:pt x="536" y="107"/>
                  </a:cubicBezTo>
                  <a:cubicBezTo>
                    <a:pt x="529" y="103"/>
                    <a:pt x="520" y="106"/>
                    <a:pt x="515" y="114"/>
                  </a:cubicBezTo>
                  <a:cubicBezTo>
                    <a:pt x="368" y="397"/>
                    <a:pt x="368" y="397"/>
                    <a:pt x="368" y="397"/>
                  </a:cubicBezTo>
                  <a:cubicBezTo>
                    <a:pt x="364" y="405"/>
                    <a:pt x="367" y="414"/>
                    <a:pt x="375" y="4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2090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/>
          <a:lstStyle/>
          <a:p>
            <a:r>
              <a:rPr lang="de-DE"/>
              <a:t>Building CI/CD with the right tools</a:t>
            </a:r>
            <a:endParaRPr lang="de-DE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10AFD62-AF74-40B2-B85B-899D6E5242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7660" y="1223673"/>
            <a:ext cx="4260838" cy="980521"/>
          </a:xfrm>
        </p:spPr>
        <p:txBody>
          <a:bodyPr/>
          <a:lstStyle/>
          <a:p>
            <a:r>
              <a:rPr lang="de-DE" b="1"/>
              <a:t>GitLab CI/C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/>
              <a:t>Integrated</a:t>
            </a:r>
            <a:r>
              <a:rPr lang="de-DE"/>
              <a:t> into Gitlab and easy to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Run </a:t>
            </a:r>
            <a:r>
              <a:rPr lang="de-DE" b="1"/>
              <a:t>test scripts </a:t>
            </a:r>
            <a:r>
              <a:rPr lang="de-DE"/>
              <a:t>on every push and me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/>
              <a:t>Runner can be local or in limited fashion remote</a:t>
            </a:r>
          </a:p>
        </p:txBody>
      </p:sp>
      <p:pic>
        <p:nvPicPr>
          <p:cNvPr id="2050" name="Picture 2" descr="Pipeline graph">
            <a:extLst>
              <a:ext uri="{FF2B5EF4-FFF2-40B4-BE49-F238E27FC236}">
                <a16:creationId xmlns:a16="http://schemas.microsoft.com/office/drawing/2014/main" id="{F5CFB300-0EB0-8B70-18C3-2B7184EE1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540" y="1107905"/>
            <a:ext cx="3318902" cy="109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71B7BA8-439D-9F32-0845-1CD91325D167}"/>
              </a:ext>
            </a:extLst>
          </p:cNvPr>
          <p:cNvSpPr txBox="1"/>
          <p:nvPr/>
        </p:nvSpPr>
        <p:spPr>
          <a:xfrm>
            <a:off x="719994" y="3135345"/>
            <a:ext cx="4572000" cy="55335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eaLnBrk="0" hangingPunct="0">
              <a:lnSpc>
                <a:spcPct val="114000"/>
              </a:lnSpc>
            </a:pPr>
            <a:r>
              <a:rPr lang="de-DE" sz="1400" b="1">
                <a:latin typeface="+mn-lt"/>
                <a:cs typeface="+mn-cs"/>
              </a:rPr>
              <a:t>Pytest/Unit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>
                <a:latin typeface="+mn-lt"/>
                <a:cs typeface="+mn-cs"/>
              </a:rPr>
              <a:t>Test</a:t>
            </a:r>
            <a:r>
              <a:rPr lang="de-DE" sz="1400">
                <a:latin typeface="+mn-lt"/>
                <a:cs typeface="+mn-cs"/>
              </a:rPr>
              <a:t> individual functions and code chunks in python</a:t>
            </a:r>
            <a:endParaRPr lang="de-DE" sz="1400">
              <a:latin typeface="+mn-lt"/>
              <a:cs typeface="Arial"/>
            </a:endParaRPr>
          </a:p>
        </p:txBody>
      </p:sp>
      <p:pic>
        <p:nvPicPr>
          <p:cNvPr id="2052" name="Picture 4" descr="pytest · PyPI">
            <a:extLst>
              <a:ext uri="{FF2B5EF4-FFF2-40B4-BE49-F238E27FC236}">
                <a16:creationId xmlns:a16="http://schemas.microsoft.com/office/drawing/2014/main" id="{54926B01-7067-5DDF-0707-BBB2D5CD1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1670" y="3101198"/>
            <a:ext cx="918320" cy="918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AA6B50-F446-13B2-8FFB-7B37981034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09006" y="3101198"/>
            <a:ext cx="566990" cy="768800"/>
          </a:xfrm>
          <a:prstGeom prst="rect">
            <a:avLst/>
          </a:prstGeom>
        </p:spPr>
      </p:pic>
      <p:pic>
        <p:nvPicPr>
          <p:cNvPr id="2056" name="Picture 8" descr="VS Gaming League Masters 2018 - Season 1 - Liquipedia Counter-Strike Wiki">
            <a:extLst>
              <a:ext uri="{FF2B5EF4-FFF2-40B4-BE49-F238E27FC236}">
                <a16:creationId xmlns:a16="http://schemas.microsoft.com/office/drawing/2014/main" id="{5529C4AE-A8AD-AD74-43DF-DF5A2AA1D4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1394" y="3282494"/>
            <a:ext cx="406208" cy="40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NavigationTriangle">
            <a:extLst>
              <a:ext uri="{FF2B5EF4-FFF2-40B4-BE49-F238E27FC236}">
                <a16:creationId xmlns:a16="http://schemas.microsoft.com/office/drawing/2014/main" id="{883B75C6-D1FC-462C-8427-483C3DD32445}"/>
              </a:ext>
            </a:extLst>
          </p:cNvPr>
          <p:cNvSpPr/>
          <p:nvPr/>
        </p:nvSpPr>
        <p:spPr>
          <a:xfrm rot="16200000">
            <a:off x="8080517" y="-37923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918752B-2ECB-4971-8801-3588447656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98692" y="53517"/>
            <a:ext cx="455613" cy="457200"/>
            <a:chOff x="5120" y="1668"/>
            <a:chExt cx="287" cy="288"/>
          </a:xfrm>
        </p:grpSpPr>
        <p:sp>
          <p:nvSpPr>
            <p:cNvPr id="21" name="AutoShape 49">
              <a:extLst>
                <a:ext uri="{FF2B5EF4-FFF2-40B4-BE49-F238E27FC236}">
                  <a16:creationId xmlns:a16="http://schemas.microsoft.com/office/drawing/2014/main" id="{3991124B-5766-4A3A-B997-85F973B627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0" y="1668"/>
              <a:ext cx="28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51">
              <a:extLst>
                <a:ext uri="{FF2B5EF4-FFF2-40B4-BE49-F238E27FC236}">
                  <a16:creationId xmlns:a16="http://schemas.microsoft.com/office/drawing/2014/main" id="{B7857008-E623-45DB-9293-43E27CC048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6" y="1720"/>
              <a:ext cx="255" cy="184"/>
            </a:xfrm>
            <a:custGeom>
              <a:avLst/>
              <a:gdLst>
                <a:gd name="T0" fmla="*/ 816 w 903"/>
                <a:gd name="T1" fmla="*/ 525 h 649"/>
                <a:gd name="T2" fmla="*/ 839 w 903"/>
                <a:gd name="T3" fmla="*/ 22 h 649"/>
                <a:gd name="T4" fmla="*/ 86 w 903"/>
                <a:gd name="T5" fmla="*/ 0 h 649"/>
                <a:gd name="T6" fmla="*/ 64 w 903"/>
                <a:gd name="T7" fmla="*/ 502 h 649"/>
                <a:gd name="T8" fmla="*/ 116 w 903"/>
                <a:gd name="T9" fmla="*/ 70 h 649"/>
                <a:gd name="T10" fmla="*/ 776 w 903"/>
                <a:gd name="T11" fmla="*/ 59 h 649"/>
                <a:gd name="T12" fmla="*/ 787 w 903"/>
                <a:gd name="T13" fmla="*/ 455 h 649"/>
                <a:gd name="T14" fmla="*/ 127 w 903"/>
                <a:gd name="T15" fmla="*/ 465 h 649"/>
                <a:gd name="T16" fmla="*/ 116 w 903"/>
                <a:gd name="T17" fmla="*/ 70 h 649"/>
                <a:gd name="T18" fmla="*/ 879 w 903"/>
                <a:gd name="T19" fmla="*/ 550 h 649"/>
                <a:gd name="T20" fmla="*/ 549 w 903"/>
                <a:gd name="T21" fmla="*/ 565 h 649"/>
                <a:gd name="T22" fmla="*/ 332 w 903"/>
                <a:gd name="T23" fmla="*/ 550 h 649"/>
                <a:gd name="T24" fmla="*/ 6 w 903"/>
                <a:gd name="T25" fmla="*/ 559 h 649"/>
                <a:gd name="T26" fmla="*/ 18 w 903"/>
                <a:gd name="T27" fmla="*/ 632 h 649"/>
                <a:gd name="T28" fmla="*/ 863 w 903"/>
                <a:gd name="T29" fmla="*/ 649 h 649"/>
                <a:gd name="T30" fmla="*/ 901 w 903"/>
                <a:gd name="T31" fmla="*/ 580 h 649"/>
                <a:gd name="T32" fmla="*/ 538 w 903"/>
                <a:gd name="T33" fmla="*/ 205 h 649"/>
                <a:gd name="T34" fmla="*/ 499 w 903"/>
                <a:gd name="T35" fmla="*/ 381 h 649"/>
                <a:gd name="T36" fmla="*/ 511 w 903"/>
                <a:gd name="T37" fmla="*/ 408 h 649"/>
                <a:gd name="T38" fmla="*/ 638 w 903"/>
                <a:gd name="T39" fmla="*/ 286 h 649"/>
                <a:gd name="T40" fmla="*/ 644 w 903"/>
                <a:gd name="T41" fmla="*/ 274 h 649"/>
                <a:gd name="T42" fmla="*/ 638 w 903"/>
                <a:gd name="T43" fmla="*/ 261 h 649"/>
                <a:gd name="T44" fmla="*/ 549 w 903"/>
                <a:gd name="T45" fmla="*/ 178 h 649"/>
                <a:gd name="T46" fmla="*/ 538 w 903"/>
                <a:gd name="T47" fmla="*/ 205 h 649"/>
                <a:gd name="T48" fmla="*/ 264 w 903"/>
                <a:gd name="T49" fmla="*/ 286 h 649"/>
                <a:gd name="T50" fmla="*/ 343 w 903"/>
                <a:gd name="T51" fmla="*/ 366 h 649"/>
                <a:gd name="T52" fmla="*/ 365 w 903"/>
                <a:gd name="T53" fmla="*/ 365 h 649"/>
                <a:gd name="T54" fmla="*/ 365 w 903"/>
                <a:gd name="T55" fmla="*/ 343 h 649"/>
                <a:gd name="T56" fmla="*/ 403 w 903"/>
                <a:gd name="T57" fmla="*/ 167 h 649"/>
                <a:gd name="T58" fmla="*/ 403 w 903"/>
                <a:gd name="T59" fmla="*/ 144 h 649"/>
                <a:gd name="T60" fmla="*/ 264 w 903"/>
                <a:gd name="T61" fmla="*/ 262 h 649"/>
                <a:gd name="T62" fmla="*/ 263 w 903"/>
                <a:gd name="T63" fmla="*/ 263 h 649"/>
                <a:gd name="T64" fmla="*/ 263 w 903"/>
                <a:gd name="T65" fmla="*/ 285 h 649"/>
                <a:gd name="T66" fmla="*/ 375 w 903"/>
                <a:gd name="T67" fmla="*/ 418 h 649"/>
                <a:gd name="T68" fmla="*/ 382 w 903"/>
                <a:gd name="T69" fmla="*/ 419 h 649"/>
                <a:gd name="T70" fmla="*/ 543 w 903"/>
                <a:gd name="T71" fmla="*/ 128 h 649"/>
                <a:gd name="T72" fmla="*/ 536 w 903"/>
                <a:gd name="T73" fmla="*/ 107 h 649"/>
                <a:gd name="T74" fmla="*/ 368 w 903"/>
                <a:gd name="T75" fmla="*/ 39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649">
                  <a:moveTo>
                    <a:pt x="86" y="525"/>
                  </a:moveTo>
                  <a:cubicBezTo>
                    <a:pt x="816" y="525"/>
                    <a:pt x="816" y="525"/>
                    <a:pt x="816" y="525"/>
                  </a:cubicBezTo>
                  <a:cubicBezTo>
                    <a:pt x="829" y="525"/>
                    <a:pt x="839" y="515"/>
                    <a:pt x="839" y="502"/>
                  </a:cubicBezTo>
                  <a:cubicBezTo>
                    <a:pt x="839" y="22"/>
                    <a:pt x="839" y="22"/>
                    <a:pt x="839" y="22"/>
                  </a:cubicBezTo>
                  <a:cubicBezTo>
                    <a:pt x="839" y="10"/>
                    <a:pt x="829" y="0"/>
                    <a:pt x="81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64" y="10"/>
                    <a:pt x="64" y="22"/>
                  </a:cubicBezTo>
                  <a:cubicBezTo>
                    <a:pt x="64" y="502"/>
                    <a:pt x="64" y="502"/>
                    <a:pt x="64" y="502"/>
                  </a:cubicBezTo>
                  <a:cubicBezTo>
                    <a:pt x="64" y="515"/>
                    <a:pt x="74" y="525"/>
                    <a:pt x="86" y="525"/>
                  </a:cubicBezTo>
                  <a:close/>
                  <a:moveTo>
                    <a:pt x="116" y="70"/>
                  </a:moveTo>
                  <a:cubicBezTo>
                    <a:pt x="116" y="64"/>
                    <a:pt x="120" y="59"/>
                    <a:pt x="127" y="59"/>
                  </a:cubicBezTo>
                  <a:cubicBezTo>
                    <a:pt x="776" y="59"/>
                    <a:pt x="776" y="59"/>
                    <a:pt x="776" y="59"/>
                  </a:cubicBezTo>
                  <a:cubicBezTo>
                    <a:pt x="782" y="59"/>
                    <a:pt x="787" y="64"/>
                    <a:pt x="787" y="70"/>
                  </a:cubicBezTo>
                  <a:cubicBezTo>
                    <a:pt x="787" y="455"/>
                    <a:pt x="787" y="455"/>
                    <a:pt x="787" y="455"/>
                  </a:cubicBezTo>
                  <a:cubicBezTo>
                    <a:pt x="787" y="461"/>
                    <a:pt x="782" y="465"/>
                    <a:pt x="776" y="465"/>
                  </a:cubicBezTo>
                  <a:cubicBezTo>
                    <a:pt x="127" y="465"/>
                    <a:pt x="127" y="465"/>
                    <a:pt x="127" y="465"/>
                  </a:cubicBezTo>
                  <a:cubicBezTo>
                    <a:pt x="120" y="465"/>
                    <a:pt x="116" y="461"/>
                    <a:pt x="116" y="455"/>
                  </a:cubicBezTo>
                  <a:cubicBezTo>
                    <a:pt x="116" y="70"/>
                    <a:pt x="116" y="70"/>
                    <a:pt x="116" y="70"/>
                  </a:cubicBezTo>
                  <a:close/>
                  <a:moveTo>
                    <a:pt x="897" y="559"/>
                  </a:moveTo>
                  <a:cubicBezTo>
                    <a:pt x="893" y="554"/>
                    <a:pt x="887" y="550"/>
                    <a:pt x="879" y="550"/>
                  </a:cubicBezTo>
                  <a:cubicBezTo>
                    <a:pt x="879" y="550"/>
                    <a:pt x="879" y="550"/>
                    <a:pt x="571" y="550"/>
                  </a:cubicBezTo>
                  <a:cubicBezTo>
                    <a:pt x="562" y="550"/>
                    <a:pt x="552" y="557"/>
                    <a:pt x="549" y="565"/>
                  </a:cubicBezTo>
                  <a:cubicBezTo>
                    <a:pt x="549" y="565"/>
                    <a:pt x="549" y="565"/>
                    <a:pt x="353" y="565"/>
                  </a:cubicBezTo>
                  <a:cubicBezTo>
                    <a:pt x="350" y="557"/>
                    <a:pt x="341" y="550"/>
                    <a:pt x="332" y="550"/>
                  </a:cubicBezTo>
                  <a:cubicBezTo>
                    <a:pt x="332" y="550"/>
                    <a:pt x="332" y="550"/>
                    <a:pt x="23" y="550"/>
                  </a:cubicBezTo>
                  <a:cubicBezTo>
                    <a:pt x="16" y="550"/>
                    <a:pt x="10" y="554"/>
                    <a:pt x="6" y="559"/>
                  </a:cubicBezTo>
                  <a:cubicBezTo>
                    <a:pt x="1" y="565"/>
                    <a:pt x="0" y="573"/>
                    <a:pt x="2" y="580"/>
                  </a:cubicBezTo>
                  <a:cubicBezTo>
                    <a:pt x="2" y="580"/>
                    <a:pt x="2" y="580"/>
                    <a:pt x="18" y="632"/>
                  </a:cubicBezTo>
                  <a:cubicBezTo>
                    <a:pt x="21" y="642"/>
                    <a:pt x="31" y="649"/>
                    <a:pt x="40" y="649"/>
                  </a:cubicBezTo>
                  <a:cubicBezTo>
                    <a:pt x="40" y="649"/>
                    <a:pt x="40" y="649"/>
                    <a:pt x="863" y="649"/>
                  </a:cubicBezTo>
                  <a:cubicBezTo>
                    <a:pt x="872" y="649"/>
                    <a:pt x="881" y="642"/>
                    <a:pt x="884" y="632"/>
                  </a:cubicBezTo>
                  <a:cubicBezTo>
                    <a:pt x="884" y="632"/>
                    <a:pt x="884" y="632"/>
                    <a:pt x="901" y="580"/>
                  </a:cubicBezTo>
                  <a:cubicBezTo>
                    <a:pt x="903" y="573"/>
                    <a:pt x="902" y="565"/>
                    <a:pt x="897" y="559"/>
                  </a:cubicBezTo>
                  <a:close/>
                  <a:moveTo>
                    <a:pt x="538" y="205"/>
                  </a:moveTo>
                  <a:cubicBezTo>
                    <a:pt x="606" y="274"/>
                    <a:pt x="606" y="274"/>
                    <a:pt x="606" y="274"/>
                  </a:cubicBezTo>
                  <a:cubicBezTo>
                    <a:pt x="499" y="381"/>
                    <a:pt x="499" y="381"/>
                    <a:pt x="499" y="381"/>
                  </a:cubicBezTo>
                  <a:cubicBezTo>
                    <a:pt x="493" y="387"/>
                    <a:pt x="494" y="397"/>
                    <a:pt x="499" y="403"/>
                  </a:cubicBezTo>
                  <a:cubicBezTo>
                    <a:pt x="502" y="406"/>
                    <a:pt x="507" y="408"/>
                    <a:pt x="511" y="408"/>
                  </a:cubicBezTo>
                  <a:cubicBezTo>
                    <a:pt x="514" y="408"/>
                    <a:pt x="518" y="406"/>
                    <a:pt x="521" y="403"/>
                  </a:cubicBezTo>
                  <a:cubicBezTo>
                    <a:pt x="638" y="286"/>
                    <a:pt x="638" y="286"/>
                    <a:pt x="638" y="286"/>
                  </a:cubicBezTo>
                  <a:cubicBezTo>
                    <a:pt x="638" y="286"/>
                    <a:pt x="639" y="285"/>
                    <a:pt x="639" y="285"/>
                  </a:cubicBezTo>
                  <a:cubicBezTo>
                    <a:pt x="643" y="282"/>
                    <a:pt x="644" y="278"/>
                    <a:pt x="644" y="274"/>
                  </a:cubicBezTo>
                  <a:cubicBezTo>
                    <a:pt x="644" y="269"/>
                    <a:pt x="643" y="266"/>
                    <a:pt x="640" y="263"/>
                  </a:cubicBezTo>
                  <a:cubicBezTo>
                    <a:pt x="639" y="262"/>
                    <a:pt x="639" y="262"/>
                    <a:pt x="638" y="261"/>
                  </a:cubicBezTo>
                  <a:cubicBezTo>
                    <a:pt x="560" y="183"/>
                    <a:pt x="560" y="183"/>
                    <a:pt x="560" y="183"/>
                  </a:cubicBezTo>
                  <a:cubicBezTo>
                    <a:pt x="557" y="180"/>
                    <a:pt x="553" y="178"/>
                    <a:pt x="549" y="178"/>
                  </a:cubicBezTo>
                  <a:cubicBezTo>
                    <a:pt x="545" y="178"/>
                    <a:pt x="541" y="180"/>
                    <a:pt x="538" y="183"/>
                  </a:cubicBezTo>
                  <a:cubicBezTo>
                    <a:pt x="532" y="189"/>
                    <a:pt x="532" y="198"/>
                    <a:pt x="538" y="205"/>
                  </a:cubicBezTo>
                  <a:close/>
                  <a:moveTo>
                    <a:pt x="263" y="285"/>
                  </a:moveTo>
                  <a:cubicBezTo>
                    <a:pt x="264" y="286"/>
                    <a:pt x="264" y="286"/>
                    <a:pt x="264" y="286"/>
                  </a:cubicBezTo>
                  <a:cubicBezTo>
                    <a:pt x="343" y="365"/>
                    <a:pt x="343" y="365"/>
                    <a:pt x="343" y="365"/>
                  </a:cubicBezTo>
                  <a:cubicBezTo>
                    <a:pt x="343" y="365"/>
                    <a:pt x="343" y="365"/>
                    <a:pt x="343" y="366"/>
                  </a:cubicBezTo>
                  <a:cubicBezTo>
                    <a:pt x="346" y="368"/>
                    <a:pt x="350" y="369"/>
                    <a:pt x="354" y="369"/>
                  </a:cubicBezTo>
                  <a:cubicBezTo>
                    <a:pt x="358" y="369"/>
                    <a:pt x="362" y="368"/>
                    <a:pt x="365" y="365"/>
                  </a:cubicBezTo>
                  <a:cubicBezTo>
                    <a:pt x="368" y="362"/>
                    <a:pt x="370" y="358"/>
                    <a:pt x="369" y="353"/>
                  </a:cubicBezTo>
                  <a:cubicBezTo>
                    <a:pt x="369" y="349"/>
                    <a:pt x="368" y="345"/>
                    <a:pt x="365" y="343"/>
                  </a:cubicBezTo>
                  <a:cubicBezTo>
                    <a:pt x="296" y="274"/>
                    <a:pt x="296" y="274"/>
                    <a:pt x="296" y="274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406" y="164"/>
                    <a:pt x="408" y="160"/>
                    <a:pt x="408" y="156"/>
                  </a:cubicBezTo>
                  <a:cubicBezTo>
                    <a:pt x="408" y="152"/>
                    <a:pt x="406" y="147"/>
                    <a:pt x="403" y="144"/>
                  </a:cubicBezTo>
                  <a:cubicBezTo>
                    <a:pt x="397" y="139"/>
                    <a:pt x="387" y="138"/>
                    <a:pt x="381" y="144"/>
                  </a:cubicBezTo>
                  <a:cubicBezTo>
                    <a:pt x="264" y="262"/>
                    <a:pt x="264" y="262"/>
                    <a:pt x="264" y="262"/>
                  </a:cubicBezTo>
                  <a:cubicBezTo>
                    <a:pt x="264" y="262"/>
                    <a:pt x="264" y="262"/>
                    <a:pt x="263" y="262"/>
                  </a:cubicBezTo>
                  <a:cubicBezTo>
                    <a:pt x="263" y="263"/>
                    <a:pt x="263" y="263"/>
                    <a:pt x="263" y="263"/>
                  </a:cubicBezTo>
                  <a:cubicBezTo>
                    <a:pt x="260" y="266"/>
                    <a:pt x="259" y="270"/>
                    <a:pt x="259" y="274"/>
                  </a:cubicBezTo>
                  <a:cubicBezTo>
                    <a:pt x="259" y="278"/>
                    <a:pt x="260" y="282"/>
                    <a:pt x="263" y="285"/>
                  </a:cubicBezTo>
                  <a:cubicBezTo>
                    <a:pt x="263" y="285"/>
                    <a:pt x="263" y="285"/>
                    <a:pt x="263" y="285"/>
                  </a:cubicBezTo>
                  <a:close/>
                  <a:moveTo>
                    <a:pt x="375" y="418"/>
                  </a:moveTo>
                  <a:cubicBezTo>
                    <a:pt x="375" y="418"/>
                    <a:pt x="375" y="418"/>
                    <a:pt x="376" y="418"/>
                  </a:cubicBezTo>
                  <a:cubicBezTo>
                    <a:pt x="377" y="419"/>
                    <a:pt x="379" y="419"/>
                    <a:pt x="382" y="419"/>
                  </a:cubicBezTo>
                  <a:cubicBezTo>
                    <a:pt x="388" y="419"/>
                    <a:pt x="393" y="416"/>
                    <a:pt x="396" y="411"/>
                  </a:cubicBezTo>
                  <a:cubicBezTo>
                    <a:pt x="543" y="128"/>
                    <a:pt x="543" y="128"/>
                    <a:pt x="543" y="128"/>
                  </a:cubicBezTo>
                  <a:cubicBezTo>
                    <a:pt x="547" y="121"/>
                    <a:pt x="545" y="111"/>
                    <a:pt x="537" y="107"/>
                  </a:cubicBezTo>
                  <a:cubicBezTo>
                    <a:pt x="537" y="107"/>
                    <a:pt x="536" y="107"/>
                    <a:pt x="536" y="107"/>
                  </a:cubicBezTo>
                  <a:cubicBezTo>
                    <a:pt x="529" y="103"/>
                    <a:pt x="520" y="106"/>
                    <a:pt x="515" y="114"/>
                  </a:cubicBezTo>
                  <a:cubicBezTo>
                    <a:pt x="368" y="397"/>
                    <a:pt x="368" y="397"/>
                    <a:pt x="368" y="397"/>
                  </a:cubicBezTo>
                  <a:cubicBezTo>
                    <a:pt x="364" y="405"/>
                    <a:pt x="367" y="414"/>
                    <a:pt x="375" y="4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3704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/>
          <a:lstStyle/>
          <a:p>
            <a:r>
              <a:rPr lang="de-DE"/>
              <a:t>Building CI/CD with the right tools</a:t>
            </a:r>
            <a:endParaRPr lang="de-DE"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0C28683-FCCA-FC77-F73D-CFE7EDEE7333}"/>
              </a:ext>
            </a:extLst>
          </p:cNvPr>
          <p:cNvSpPr txBox="1"/>
          <p:nvPr/>
        </p:nvSpPr>
        <p:spPr>
          <a:xfrm>
            <a:off x="378004" y="2413105"/>
            <a:ext cx="4687222" cy="808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hangingPunct="0">
              <a:lnSpc>
                <a:spcPct val="114000"/>
              </a:lnSpc>
            </a:pPr>
            <a:r>
              <a:rPr lang="de-DE" sz="1400" b="1">
                <a:latin typeface="+mn-lt"/>
                <a:cs typeface="+mn-cs"/>
              </a:rPr>
              <a:t>Flake8</a:t>
            </a:r>
          </a:p>
          <a:p>
            <a:pPr marL="285750" indent="-285750" eaLnBrk="0" hangingPunct="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de-DE" sz="1400">
                <a:latin typeface="+mn-lt"/>
                <a:cs typeface="+mn-cs"/>
              </a:rPr>
              <a:t>Test the compliance with the </a:t>
            </a:r>
            <a:r>
              <a:rPr lang="de-DE" sz="1400" b="1">
                <a:latin typeface="+mn-lt"/>
                <a:cs typeface="+mn-cs"/>
              </a:rPr>
              <a:t>code style </a:t>
            </a:r>
            <a:r>
              <a:rPr lang="de-DE" sz="1400">
                <a:latin typeface="+mn-lt"/>
                <a:cs typeface="+mn-cs"/>
              </a:rPr>
              <a:t>requirements</a:t>
            </a:r>
            <a:endParaRPr lang="de-DE" sz="1400" b="1">
              <a:latin typeface="+mn-lt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88037B3-E0C6-276C-3188-FDFEE9B518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1085" y="2402354"/>
            <a:ext cx="3904556" cy="92537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3C6CB41-2EA5-98CD-3AFA-43B864F79ABF}"/>
              </a:ext>
            </a:extLst>
          </p:cNvPr>
          <p:cNvSpPr txBox="1"/>
          <p:nvPr/>
        </p:nvSpPr>
        <p:spPr>
          <a:xfrm>
            <a:off x="378004" y="3845965"/>
            <a:ext cx="4571999" cy="808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hangingPunct="0">
              <a:lnSpc>
                <a:spcPct val="114000"/>
              </a:lnSpc>
            </a:pPr>
            <a:r>
              <a:rPr lang="de-DE" sz="1400" b="1">
                <a:latin typeface="+mn-lt"/>
                <a:cs typeface="+mn-cs"/>
              </a:rPr>
              <a:t>Spellchecker</a:t>
            </a:r>
          </a:p>
          <a:p>
            <a:pPr marL="285750" indent="-285750" eaLnBrk="0" hangingPunct="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de-DE" sz="1400">
                <a:latin typeface="+mn-lt"/>
                <a:cs typeface="+mn-cs"/>
              </a:rPr>
              <a:t>Spellcheck text outputs for GUI, CLI and logs</a:t>
            </a:r>
          </a:p>
          <a:p>
            <a:pPr marL="285750" indent="-285750" eaLnBrk="0" hangingPunct="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de-DE" sz="1400">
              <a:latin typeface="+mn-lt"/>
              <a:cs typeface="+mn-cs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7B157E47-E317-A383-A74C-781DC8753DFE}"/>
              </a:ext>
            </a:extLst>
          </p:cNvPr>
          <p:cNvSpPr txBox="1"/>
          <p:nvPr/>
        </p:nvSpPr>
        <p:spPr>
          <a:xfrm>
            <a:off x="378004" y="1070863"/>
            <a:ext cx="4572000" cy="76880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3999"/>
              </a:lnSpc>
            </a:pPr>
            <a:r>
              <a:rPr lang="de-DE" sz="1400" b="1">
                <a:latin typeface="+mn-lt"/>
                <a:cs typeface="+mn-cs"/>
              </a:rPr>
              <a:t>Docker</a:t>
            </a:r>
            <a:endParaRPr lang="de-DE" sz="1400">
              <a:latin typeface="+mn-lt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>
                <a:latin typeface="+mn-lt"/>
                <a:cs typeface="Arial"/>
              </a:rPr>
              <a:t>Streamlines CD through </a:t>
            </a:r>
            <a:r>
              <a:rPr lang="en-US" sz="1400" b="1">
                <a:latin typeface="+mn-lt"/>
                <a:cs typeface="Arial"/>
              </a:rPr>
              <a:t>standardized</a:t>
            </a:r>
            <a:r>
              <a:rPr lang="de-DE" sz="1400" b="1">
                <a:latin typeface="+mn-lt"/>
                <a:cs typeface="Arial"/>
              </a:rPr>
              <a:t> environment</a:t>
            </a:r>
          </a:p>
        </p:txBody>
      </p:sp>
      <p:sp>
        <p:nvSpPr>
          <p:cNvPr id="18" name="NavigationTriangle">
            <a:extLst>
              <a:ext uri="{FF2B5EF4-FFF2-40B4-BE49-F238E27FC236}">
                <a16:creationId xmlns:a16="http://schemas.microsoft.com/office/drawing/2014/main" id="{5078388E-DC18-4185-91B3-3DC4ED427747}"/>
              </a:ext>
            </a:extLst>
          </p:cNvPr>
          <p:cNvSpPr/>
          <p:nvPr/>
        </p:nvSpPr>
        <p:spPr>
          <a:xfrm rot="16200000">
            <a:off x="8080517" y="-37923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CEBCCB4-237D-4B0C-AD5C-1D38B67628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98692" y="53517"/>
            <a:ext cx="455613" cy="457200"/>
            <a:chOff x="5120" y="1668"/>
            <a:chExt cx="287" cy="288"/>
          </a:xfrm>
        </p:grpSpPr>
        <p:sp>
          <p:nvSpPr>
            <p:cNvPr id="21" name="AutoShape 49">
              <a:extLst>
                <a:ext uri="{FF2B5EF4-FFF2-40B4-BE49-F238E27FC236}">
                  <a16:creationId xmlns:a16="http://schemas.microsoft.com/office/drawing/2014/main" id="{8ED75013-1295-4938-A341-258BB3EB8BC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120" y="1668"/>
              <a:ext cx="28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51">
              <a:extLst>
                <a:ext uri="{FF2B5EF4-FFF2-40B4-BE49-F238E27FC236}">
                  <a16:creationId xmlns:a16="http://schemas.microsoft.com/office/drawing/2014/main" id="{F8A0B9E6-385B-41BF-9F6C-DB6C3748CA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6" y="1720"/>
              <a:ext cx="255" cy="184"/>
            </a:xfrm>
            <a:custGeom>
              <a:avLst/>
              <a:gdLst>
                <a:gd name="T0" fmla="*/ 816 w 903"/>
                <a:gd name="T1" fmla="*/ 525 h 649"/>
                <a:gd name="T2" fmla="*/ 839 w 903"/>
                <a:gd name="T3" fmla="*/ 22 h 649"/>
                <a:gd name="T4" fmla="*/ 86 w 903"/>
                <a:gd name="T5" fmla="*/ 0 h 649"/>
                <a:gd name="T6" fmla="*/ 64 w 903"/>
                <a:gd name="T7" fmla="*/ 502 h 649"/>
                <a:gd name="T8" fmla="*/ 116 w 903"/>
                <a:gd name="T9" fmla="*/ 70 h 649"/>
                <a:gd name="T10" fmla="*/ 776 w 903"/>
                <a:gd name="T11" fmla="*/ 59 h 649"/>
                <a:gd name="T12" fmla="*/ 787 w 903"/>
                <a:gd name="T13" fmla="*/ 455 h 649"/>
                <a:gd name="T14" fmla="*/ 127 w 903"/>
                <a:gd name="T15" fmla="*/ 465 h 649"/>
                <a:gd name="T16" fmla="*/ 116 w 903"/>
                <a:gd name="T17" fmla="*/ 70 h 649"/>
                <a:gd name="T18" fmla="*/ 879 w 903"/>
                <a:gd name="T19" fmla="*/ 550 h 649"/>
                <a:gd name="T20" fmla="*/ 549 w 903"/>
                <a:gd name="T21" fmla="*/ 565 h 649"/>
                <a:gd name="T22" fmla="*/ 332 w 903"/>
                <a:gd name="T23" fmla="*/ 550 h 649"/>
                <a:gd name="T24" fmla="*/ 6 w 903"/>
                <a:gd name="T25" fmla="*/ 559 h 649"/>
                <a:gd name="T26" fmla="*/ 18 w 903"/>
                <a:gd name="T27" fmla="*/ 632 h 649"/>
                <a:gd name="T28" fmla="*/ 863 w 903"/>
                <a:gd name="T29" fmla="*/ 649 h 649"/>
                <a:gd name="T30" fmla="*/ 901 w 903"/>
                <a:gd name="T31" fmla="*/ 580 h 649"/>
                <a:gd name="T32" fmla="*/ 538 w 903"/>
                <a:gd name="T33" fmla="*/ 205 h 649"/>
                <a:gd name="T34" fmla="*/ 499 w 903"/>
                <a:gd name="T35" fmla="*/ 381 h 649"/>
                <a:gd name="T36" fmla="*/ 511 w 903"/>
                <a:gd name="T37" fmla="*/ 408 h 649"/>
                <a:gd name="T38" fmla="*/ 638 w 903"/>
                <a:gd name="T39" fmla="*/ 286 h 649"/>
                <a:gd name="T40" fmla="*/ 644 w 903"/>
                <a:gd name="T41" fmla="*/ 274 h 649"/>
                <a:gd name="T42" fmla="*/ 638 w 903"/>
                <a:gd name="T43" fmla="*/ 261 h 649"/>
                <a:gd name="T44" fmla="*/ 549 w 903"/>
                <a:gd name="T45" fmla="*/ 178 h 649"/>
                <a:gd name="T46" fmla="*/ 538 w 903"/>
                <a:gd name="T47" fmla="*/ 205 h 649"/>
                <a:gd name="T48" fmla="*/ 264 w 903"/>
                <a:gd name="T49" fmla="*/ 286 h 649"/>
                <a:gd name="T50" fmla="*/ 343 w 903"/>
                <a:gd name="T51" fmla="*/ 366 h 649"/>
                <a:gd name="T52" fmla="*/ 365 w 903"/>
                <a:gd name="T53" fmla="*/ 365 h 649"/>
                <a:gd name="T54" fmla="*/ 365 w 903"/>
                <a:gd name="T55" fmla="*/ 343 h 649"/>
                <a:gd name="T56" fmla="*/ 403 w 903"/>
                <a:gd name="T57" fmla="*/ 167 h 649"/>
                <a:gd name="T58" fmla="*/ 403 w 903"/>
                <a:gd name="T59" fmla="*/ 144 h 649"/>
                <a:gd name="T60" fmla="*/ 264 w 903"/>
                <a:gd name="T61" fmla="*/ 262 h 649"/>
                <a:gd name="T62" fmla="*/ 263 w 903"/>
                <a:gd name="T63" fmla="*/ 263 h 649"/>
                <a:gd name="T64" fmla="*/ 263 w 903"/>
                <a:gd name="T65" fmla="*/ 285 h 649"/>
                <a:gd name="T66" fmla="*/ 375 w 903"/>
                <a:gd name="T67" fmla="*/ 418 h 649"/>
                <a:gd name="T68" fmla="*/ 382 w 903"/>
                <a:gd name="T69" fmla="*/ 419 h 649"/>
                <a:gd name="T70" fmla="*/ 543 w 903"/>
                <a:gd name="T71" fmla="*/ 128 h 649"/>
                <a:gd name="T72" fmla="*/ 536 w 903"/>
                <a:gd name="T73" fmla="*/ 107 h 649"/>
                <a:gd name="T74" fmla="*/ 368 w 903"/>
                <a:gd name="T75" fmla="*/ 39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649">
                  <a:moveTo>
                    <a:pt x="86" y="525"/>
                  </a:moveTo>
                  <a:cubicBezTo>
                    <a:pt x="816" y="525"/>
                    <a:pt x="816" y="525"/>
                    <a:pt x="816" y="525"/>
                  </a:cubicBezTo>
                  <a:cubicBezTo>
                    <a:pt x="829" y="525"/>
                    <a:pt x="839" y="515"/>
                    <a:pt x="839" y="502"/>
                  </a:cubicBezTo>
                  <a:cubicBezTo>
                    <a:pt x="839" y="22"/>
                    <a:pt x="839" y="22"/>
                    <a:pt x="839" y="22"/>
                  </a:cubicBezTo>
                  <a:cubicBezTo>
                    <a:pt x="839" y="10"/>
                    <a:pt x="829" y="0"/>
                    <a:pt x="81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64" y="10"/>
                    <a:pt x="64" y="22"/>
                  </a:cubicBezTo>
                  <a:cubicBezTo>
                    <a:pt x="64" y="502"/>
                    <a:pt x="64" y="502"/>
                    <a:pt x="64" y="502"/>
                  </a:cubicBezTo>
                  <a:cubicBezTo>
                    <a:pt x="64" y="515"/>
                    <a:pt x="74" y="525"/>
                    <a:pt x="86" y="525"/>
                  </a:cubicBezTo>
                  <a:close/>
                  <a:moveTo>
                    <a:pt x="116" y="70"/>
                  </a:moveTo>
                  <a:cubicBezTo>
                    <a:pt x="116" y="64"/>
                    <a:pt x="120" y="59"/>
                    <a:pt x="127" y="59"/>
                  </a:cubicBezTo>
                  <a:cubicBezTo>
                    <a:pt x="776" y="59"/>
                    <a:pt x="776" y="59"/>
                    <a:pt x="776" y="59"/>
                  </a:cubicBezTo>
                  <a:cubicBezTo>
                    <a:pt x="782" y="59"/>
                    <a:pt x="787" y="64"/>
                    <a:pt x="787" y="70"/>
                  </a:cubicBezTo>
                  <a:cubicBezTo>
                    <a:pt x="787" y="455"/>
                    <a:pt x="787" y="455"/>
                    <a:pt x="787" y="455"/>
                  </a:cubicBezTo>
                  <a:cubicBezTo>
                    <a:pt x="787" y="461"/>
                    <a:pt x="782" y="465"/>
                    <a:pt x="776" y="465"/>
                  </a:cubicBezTo>
                  <a:cubicBezTo>
                    <a:pt x="127" y="465"/>
                    <a:pt x="127" y="465"/>
                    <a:pt x="127" y="465"/>
                  </a:cubicBezTo>
                  <a:cubicBezTo>
                    <a:pt x="120" y="465"/>
                    <a:pt x="116" y="461"/>
                    <a:pt x="116" y="455"/>
                  </a:cubicBezTo>
                  <a:cubicBezTo>
                    <a:pt x="116" y="70"/>
                    <a:pt x="116" y="70"/>
                    <a:pt x="116" y="70"/>
                  </a:cubicBezTo>
                  <a:close/>
                  <a:moveTo>
                    <a:pt x="897" y="559"/>
                  </a:moveTo>
                  <a:cubicBezTo>
                    <a:pt x="893" y="554"/>
                    <a:pt x="887" y="550"/>
                    <a:pt x="879" y="550"/>
                  </a:cubicBezTo>
                  <a:cubicBezTo>
                    <a:pt x="879" y="550"/>
                    <a:pt x="879" y="550"/>
                    <a:pt x="571" y="550"/>
                  </a:cubicBezTo>
                  <a:cubicBezTo>
                    <a:pt x="562" y="550"/>
                    <a:pt x="552" y="557"/>
                    <a:pt x="549" y="565"/>
                  </a:cubicBezTo>
                  <a:cubicBezTo>
                    <a:pt x="549" y="565"/>
                    <a:pt x="549" y="565"/>
                    <a:pt x="353" y="565"/>
                  </a:cubicBezTo>
                  <a:cubicBezTo>
                    <a:pt x="350" y="557"/>
                    <a:pt x="341" y="550"/>
                    <a:pt x="332" y="550"/>
                  </a:cubicBezTo>
                  <a:cubicBezTo>
                    <a:pt x="332" y="550"/>
                    <a:pt x="332" y="550"/>
                    <a:pt x="23" y="550"/>
                  </a:cubicBezTo>
                  <a:cubicBezTo>
                    <a:pt x="16" y="550"/>
                    <a:pt x="10" y="554"/>
                    <a:pt x="6" y="559"/>
                  </a:cubicBezTo>
                  <a:cubicBezTo>
                    <a:pt x="1" y="565"/>
                    <a:pt x="0" y="573"/>
                    <a:pt x="2" y="580"/>
                  </a:cubicBezTo>
                  <a:cubicBezTo>
                    <a:pt x="2" y="580"/>
                    <a:pt x="2" y="580"/>
                    <a:pt x="18" y="632"/>
                  </a:cubicBezTo>
                  <a:cubicBezTo>
                    <a:pt x="21" y="642"/>
                    <a:pt x="31" y="649"/>
                    <a:pt x="40" y="649"/>
                  </a:cubicBezTo>
                  <a:cubicBezTo>
                    <a:pt x="40" y="649"/>
                    <a:pt x="40" y="649"/>
                    <a:pt x="863" y="649"/>
                  </a:cubicBezTo>
                  <a:cubicBezTo>
                    <a:pt x="872" y="649"/>
                    <a:pt x="881" y="642"/>
                    <a:pt x="884" y="632"/>
                  </a:cubicBezTo>
                  <a:cubicBezTo>
                    <a:pt x="884" y="632"/>
                    <a:pt x="884" y="632"/>
                    <a:pt x="901" y="580"/>
                  </a:cubicBezTo>
                  <a:cubicBezTo>
                    <a:pt x="903" y="573"/>
                    <a:pt x="902" y="565"/>
                    <a:pt x="897" y="559"/>
                  </a:cubicBezTo>
                  <a:close/>
                  <a:moveTo>
                    <a:pt x="538" y="205"/>
                  </a:moveTo>
                  <a:cubicBezTo>
                    <a:pt x="606" y="274"/>
                    <a:pt x="606" y="274"/>
                    <a:pt x="606" y="274"/>
                  </a:cubicBezTo>
                  <a:cubicBezTo>
                    <a:pt x="499" y="381"/>
                    <a:pt x="499" y="381"/>
                    <a:pt x="499" y="381"/>
                  </a:cubicBezTo>
                  <a:cubicBezTo>
                    <a:pt x="493" y="387"/>
                    <a:pt x="494" y="397"/>
                    <a:pt x="499" y="403"/>
                  </a:cubicBezTo>
                  <a:cubicBezTo>
                    <a:pt x="502" y="406"/>
                    <a:pt x="507" y="408"/>
                    <a:pt x="511" y="408"/>
                  </a:cubicBezTo>
                  <a:cubicBezTo>
                    <a:pt x="514" y="408"/>
                    <a:pt x="518" y="406"/>
                    <a:pt x="521" y="403"/>
                  </a:cubicBezTo>
                  <a:cubicBezTo>
                    <a:pt x="638" y="286"/>
                    <a:pt x="638" y="286"/>
                    <a:pt x="638" y="286"/>
                  </a:cubicBezTo>
                  <a:cubicBezTo>
                    <a:pt x="638" y="286"/>
                    <a:pt x="639" y="285"/>
                    <a:pt x="639" y="285"/>
                  </a:cubicBezTo>
                  <a:cubicBezTo>
                    <a:pt x="643" y="282"/>
                    <a:pt x="644" y="278"/>
                    <a:pt x="644" y="274"/>
                  </a:cubicBezTo>
                  <a:cubicBezTo>
                    <a:pt x="644" y="269"/>
                    <a:pt x="643" y="266"/>
                    <a:pt x="640" y="263"/>
                  </a:cubicBezTo>
                  <a:cubicBezTo>
                    <a:pt x="639" y="262"/>
                    <a:pt x="639" y="262"/>
                    <a:pt x="638" y="261"/>
                  </a:cubicBezTo>
                  <a:cubicBezTo>
                    <a:pt x="560" y="183"/>
                    <a:pt x="560" y="183"/>
                    <a:pt x="560" y="183"/>
                  </a:cubicBezTo>
                  <a:cubicBezTo>
                    <a:pt x="557" y="180"/>
                    <a:pt x="553" y="178"/>
                    <a:pt x="549" y="178"/>
                  </a:cubicBezTo>
                  <a:cubicBezTo>
                    <a:pt x="545" y="178"/>
                    <a:pt x="541" y="180"/>
                    <a:pt x="538" y="183"/>
                  </a:cubicBezTo>
                  <a:cubicBezTo>
                    <a:pt x="532" y="189"/>
                    <a:pt x="532" y="198"/>
                    <a:pt x="538" y="205"/>
                  </a:cubicBezTo>
                  <a:close/>
                  <a:moveTo>
                    <a:pt x="263" y="285"/>
                  </a:moveTo>
                  <a:cubicBezTo>
                    <a:pt x="264" y="286"/>
                    <a:pt x="264" y="286"/>
                    <a:pt x="264" y="286"/>
                  </a:cubicBezTo>
                  <a:cubicBezTo>
                    <a:pt x="343" y="365"/>
                    <a:pt x="343" y="365"/>
                    <a:pt x="343" y="365"/>
                  </a:cubicBezTo>
                  <a:cubicBezTo>
                    <a:pt x="343" y="365"/>
                    <a:pt x="343" y="365"/>
                    <a:pt x="343" y="366"/>
                  </a:cubicBezTo>
                  <a:cubicBezTo>
                    <a:pt x="346" y="368"/>
                    <a:pt x="350" y="369"/>
                    <a:pt x="354" y="369"/>
                  </a:cubicBezTo>
                  <a:cubicBezTo>
                    <a:pt x="358" y="369"/>
                    <a:pt x="362" y="368"/>
                    <a:pt x="365" y="365"/>
                  </a:cubicBezTo>
                  <a:cubicBezTo>
                    <a:pt x="368" y="362"/>
                    <a:pt x="370" y="358"/>
                    <a:pt x="369" y="353"/>
                  </a:cubicBezTo>
                  <a:cubicBezTo>
                    <a:pt x="369" y="349"/>
                    <a:pt x="368" y="345"/>
                    <a:pt x="365" y="343"/>
                  </a:cubicBezTo>
                  <a:cubicBezTo>
                    <a:pt x="296" y="274"/>
                    <a:pt x="296" y="274"/>
                    <a:pt x="296" y="274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406" y="164"/>
                    <a:pt x="408" y="160"/>
                    <a:pt x="408" y="156"/>
                  </a:cubicBezTo>
                  <a:cubicBezTo>
                    <a:pt x="408" y="152"/>
                    <a:pt x="406" y="147"/>
                    <a:pt x="403" y="144"/>
                  </a:cubicBezTo>
                  <a:cubicBezTo>
                    <a:pt x="397" y="139"/>
                    <a:pt x="387" y="138"/>
                    <a:pt x="381" y="144"/>
                  </a:cubicBezTo>
                  <a:cubicBezTo>
                    <a:pt x="264" y="262"/>
                    <a:pt x="264" y="262"/>
                    <a:pt x="264" y="262"/>
                  </a:cubicBezTo>
                  <a:cubicBezTo>
                    <a:pt x="264" y="262"/>
                    <a:pt x="264" y="262"/>
                    <a:pt x="263" y="262"/>
                  </a:cubicBezTo>
                  <a:cubicBezTo>
                    <a:pt x="263" y="263"/>
                    <a:pt x="263" y="263"/>
                    <a:pt x="263" y="263"/>
                  </a:cubicBezTo>
                  <a:cubicBezTo>
                    <a:pt x="260" y="266"/>
                    <a:pt x="259" y="270"/>
                    <a:pt x="259" y="274"/>
                  </a:cubicBezTo>
                  <a:cubicBezTo>
                    <a:pt x="259" y="278"/>
                    <a:pt x="260" y="282"/>
                    <a:pt x="263" y="285"/>
                  </a:cubicBezTo>
                  <a:cubicBezTo>
                    <a:pt x="263" y="285"/>
                    <a:pt x="263" y="285"/>
                    <a:pt x="263" y="285"/>
                  </a:cubicBezTo>
                  <a:close/>
                  <a:moveTo>
                    <a:pt x="375" y="418"/>
                  </a:moveTo>
                  <a:cubicBezTo>
                    <a:pt x="375" y="418"/>
                    <a:pt x="375" y="418"/>
                    <a:pt x="376" y="418"/>
                  </a:cubicBezTo>
                  <a:cubicBezTo>
                    <a:pt x="377" y="419"/>
                    <a:pt x="379" y="419"/>
                    <a:pt x="382" y="419"/>
                  </a:cubicBezTo>
                  <a:cubicBezTo>
                    <a:pt x="388" y="419"/>
                    <a:pt x="393" y="416"/>
                    <a:pt x="396" y="411"/>
                  </a:cubicBezTo>
                  <a:cubicBezTo>
                    <a:pt x="543" y="128"/>
                    <a:pt x="543" y="128"/>
                    <a:pt x="543" y="128"/>
                  </a:cubicBezTo>
                  <a:cubicBezTo>
                    <a:pt x="547" y="121"/>
                    <a:pt x="545" y="111"/>
                    <a:pt x="537" y="107"/>
                  </a:cubicBezTo>
                  <a:cubicBezTo>
                    <a:pt x="537" y="107"/>
                    <a:pt x="536" y="107"/>
                    <a:pt x="536" y="107"/>
                  </a:cubicBezTo>
                  <a:cubicBezTo>
                    <a:pt x="529" y="103"/>
                    <a:pt x="520" y="106"/>
                    <a:pt x="515" y="114"/>
                  </a:cubicBezTo>
                  <a:cubicBezTo>
                    <a:pt x="368" y="397"/>
                    <a:pt x="368" y="397"/>
                    <a:pt x="368" y="397"/>
                  </a:cubicBezTo>
                  <a:cubicBezTo>
                    <a:pt x="364" y="405"/>
                    <a:pt x="367" y="414"/>
                    <a:pt x="375" y="4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3" name="Picture 39" descr="Docker Logos - Docker">
            <a:extLst>
              <a:ext uri="{FF2B5EF4-FFF2-40B4-BE49-F238E27FC236}">
                <a16:creationId xmlns:a16="http://schemas.microsoft.com/office/drawing/2014/main" id="{BBDF2F4C-9946-44A6-883D-E4570B2CE5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222" y="832181"/>
            <a:ext cx="1452234" cy="104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utoShape 2" descr="Code Spell Checker - Visual Studio Marketplace">
            <a:extLst>
              <a:ext uri="{FF2B5EF4-FFF2-40B4-BE49-F238E27FC236}">
                <a16:creationId xmlns:a16="http://schemas.microsoft.com/office/drawing/2014/main" id="{2EBCD3AC-EA7F-4AE9-AE42-2E65C6A3332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479025" y="6032463"/>
            <a:ext cx="74600" cy="7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1748" name="Picture 4" descr="Code Spell Checker - Visual Studio Marketplace">
            <a:extLst>
              <a:ext uri="{FF2B5EF4-FFF2-40B4-BE49-F238E27FC236}">
                <a16:creationId xmlns:a16="http://schemas.microsoft.com/office/drawing/2014/main" id="{224C5EC3-E53B-4C3A-8AE5-B989EB1E7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674" y="3613112"/>
            <a:ext cx="1258887" cy="1258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981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53D1E8D-CE0D-41DB-8AF3-A336ED5E6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5546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53D1E8D-CE0D-41DB-8AF3-A336ED5E6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520AB9D-23F1-469D-B3D7-1C4B6110A3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4219" y="1727238"/>
            <a:ext cx="8508999" cy="289438"/>
          </a:xfrm>
        </p:spPr>
        <p:txBody>
          <a:bodyPr>
            <a:spAutoFit/>
          </a:bodyPr>
          <a:lstStyle/>
          <a:p>
            <a:r>
              <a:rPr lang="en-US" sz="1800"/>
              <a:t>Get to know the team</a:t>
            </a:r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300364"/>
            <a:ext cx="8508999" cy="380810"/>
          </a:xfrm>
        </p:spPr>
        <p:txBody>
          <a:bodyPr vert="horz"/>
          <a:lstStyle/>
          <a:p>
            <a:r>
              <a:rPr lang="de-DE"/>
              <a:t>Outli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bcgIcons_Handshake">
            <a:extLst>
              <a:ext uri="{FF2B5EF4-FFF2-40B4-BE49-F238E27FC236}">
                <a16:creationId xmlns:a16="http://schemas.microsoft.com/office/drawing/2014/main" id="{8D71767E-D02B-4DD0-8B77-1D74784212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9385" y="1462887"/>
            <a:ext cx="817384" cy="818141"/>
            <a:chOff x="1682" y="0"/>
            <a:chExt cx="4316" cy="4320"/>
          </a:xfrm>
        </p:grpSpPr>
        <p:sp>
          <p:nvSpPr>
            <p:cNvPr id="13" name="AutoShape 3">
              <a:extLst>
                <a:ext uri="{FF2B5EF4-FFF2-40B4-BE49-F238E27FC236}">
                  <a16:creationId xmlns:a16="http://schemas.microsoft.com/office/drawing/2014/main" id="{B5F3741A-DB82-43DC-A974-030B0641486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B180709-EDED-43AC-9376-EF403DA3AF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9" y="763"/>
              <a:ext cx="2730" cy="2428"/>
            </a:xfrm>
            <a:custGeom>
              <a:avLst/>
              <a:gdLst>
                <a:gd name="T0" fmla="*/ 182 w 1457"/>
                <a:gd name="T1" fmla="*/ 441 h 1295"/>
                <a:gd name="T2" fmla="*/ 163 w 1457"/>
                <a:gd name="T3" fmla="*/ 326 h 1295"/>
                <a:gd name="T4" fmla="*/ 724 w 1457"/>
                <a:gd name="T5" fmla="*/ 120 h 1295"/>
                <a:gd name="T6" fmla="*/ 1145 w 1457"/>
                <a:gd name="T7" fmla="*/ 295 h 1295"/>
                <a:gd name="T8" fmla="*/ 1419 w 1457"/>
                <a:gd name="T9" fmla="*/ 153 h 1295"/>
                <a:gd name="T10" fmla="*/ 1457 w 1457"/>
                <a:gd name="T11" fmla="*/ 172 h 1295"/>
                <a:gd name="T12" fmla="*/ 1457 w 1457"/>
                <a:gd name="T13" fmla="*/ 660 h 1295"/>
                <a:gd name="T14" fmla="*/ 1449 w 1457"/>
                <a:gd name="T15" fmla="*/ 672 h 1295"/>
                <a:gd name="T16" fmla="*/ 1275 w 1457"/>
                <a:gd name="T17" fmla="*/ 716 h 1295"/>
                <a:gd name="T18" fmla="*/ 1263 w 1457"/>
                <a:gd name="T19" fmla="*/ 715 h 1295"/>
                <a:gd name="T20" fmla="*/ 668 w 1457"/>
                <a:gd name="T21" fmla="*/ 358 h 1295"/>
                <a:gd name="T22" fmla="*/ 462 w 1457"/>
                <a:gd name="T23" fmla="*/ 341 h 1295"/>
                <a:gd name="T24" fmla="*/ 421 w 1457"/>
                <a:gd name="T25" fmla="*/ 361 h 1295"/>
                <a:gd name="T26" fmla="*/ 182 w 1457"/>
                <a:gd name="T27" fmla="*/ 441 h 1295"/>
                <a:gd name="T28" fmla="*/ 592 w 1457"/>
                <a:gd name="T29" fmla="*/ 1039 h 1295"/>
                <a:gd name="T30" fmla="*/ 528 w 1457"/>
                <a:gd name="T31" fmla="*/ 1079 h 1295"/>
                <a:gd name="T32" fmla="*/ 472 w 1457"/>
                <a:gd name="T33" fmla="*/ 1191 h 1295"/>
                <a:gd name="T34" fmla="*/ 505 w 1457"/>
                <a:gd name="T35" fmla="*/ 1287 h 1295"/>
                <a:gd name="T36" fmla="*/ 505 w 1457"/>
                <a:gd name="T37" fmla="*/ 1287 h 1295"/>
                <a:gd name="T38" fmla="*/ 536 w 1457"/>
                <a:gd name="T39" fmla="*/ 1295 h 1295"/>
                <a:gd name="T40" fmla="*/ 601 w 1457"/>
                <a:gd name="T41" fmla="*/ 1255 h 1295"/>
                <a:gd name="T42" fmla="*/ 657 w 1457"/>
                <a:gd name="T43" fmla="*/ 1143 h 1295"/>
                <a:gd name="T44" fmla="*/ 624 w 1457"/>
                <a:gd name="T45" fmla="*/ 1046 h 1295"/>
                <a:gd name="T46" fmla="*/ 592 w 1457"/>
                <a:gd name="T47" fmla="*/ 1039 h 1295"/>
                <a:gd name="T48" fmla="*/ 462 w 1457"/>
                <a:gd name="T49" fmla="*/ 901 h 1295"/>
                <a:gd name="T50" fmla="*/ 397 w 1457"/>
                <a:gd name="T51" fmla="*/ 941 h 1295"/>
                <a:gd name="T52" fmla="*/ 307 w 1457"/>
                <a:gd name="T53" fmla="*/ 1123 h 1295"/>
                <a:gd name="T54" fmla="*/ 339 w 1457"/>
                <a:gd name="T55" fmla="*/ 1219 h 1295"/>
                <a:gd name="T56" fmla="*/ 339 w 1457"/>
                <a:gd name="T57" fmla="*/ 1219 h 1295"/>
                <a:gd name="T58" fmla="*/ 371 w 1457"/>
                <a:gd name="T59" fmla="*/ 1227 h 1295"/>
                <a:gd name="T60" fmla="*/ 435 w 1457"/>
                <a:gd name="T61" fmla="*/ 1187 h 1295"/>
                <a:gd name="T62" fmla="*/ 526 w 1457"/>
                <a:gd name="T63" fmla="*/ 1005 h 1295"/>
                <a:gd name="T64" fmla="*/ 493 w 1457"/>
                <a:gd name="T65" fmla="*/ 909 h 1295"/>
                <a:gd name="T66" fmla="*/ 493 w 1457"/>
                <a:gd name="T67" fmla="*/ 909 h 1295"/>
                <a:gd name="T68" fmla="*/ 462 w 1457"/>
                <a:gd name="T69" fmla="*/ 901 h 1295"/>
                <a:gd name="T70" fmla="*/ 298 w 1457"/>
                <a:gd name="T71" fmla="*/ 829 h 1295"/>
                <a:gd name="T72" fmla="*/ 233 w 1457"/>
                <a:gd name="T73" fmla="*/ 869 h 1295"/>
                <a:gd name="T74" fmla="*/ 150 w 1457"/>
                <a:gd name="T75" fmla="*/ 1036 h 1295"/>
                <a:gd name="T76" fmla="*/ 183 w 1457"/>
                <a:gd name="T77" fmla="*/ 1132 h 1295"/>
                <a:gd name="T78" fmla="*/ 215 w 1457"/>
                <a:gd name="T79" fmla="*/ 1140 h 1295"/>
                <a:gd name="T80" fmla="*/ 279 w 1457"/>
                <a:gd name="T81" fmla="*/ 1100 h 1295"/>
                <a:gd name="T82" fmla="*/ 362 w 1457"/>
                <a:gd name="T83" fmla="*/ 933 h 1295"/>
                <a:gd name="T84" fmla="*/ 330 w 1457"/>
                <a:gd name="T85" fmla="*/ 837 h 1295"/>
                <a:gd name="T86" fmla="*/ 330 w 1457"/>
                <a:gd name="T87" fmla="*/ 837 h 1295"/>
                <a:gd name="T88" fmla="*/ 298 w 1457"/>
                <a:gd name="T89" fmla="*/ 829 h 1295"/>
                <a:gd name="T90" fmla="*/ 131 w 1457"/>
                <a:gd name="T91" fmla="*/ 762 h 1295"/>
                <a:gd name="T92" fmla="*/ 66 w 1457"/>
                <a:gd name="T93" fmla="*/ 802 h 1295"/>
                <a:gd name="T94" fmla="*/ 18 w 1457"/>
                <a:gd name="T95" fmla="*/ 900 h 1295"/>
                <a:gd name="T96" fmla="*/ 50 w 1457"/>
                <a:gd name="T97" fmla="*/ 996 h 1295"/>
                <a:gd name="T98" fmla="*/ 82 w 1457"/>
                <a:gd name="T99" fmla="*/ 1004 h 1295"/>
                <a:gd name="T100" fmla="*/ 146 w 1457"/>
                <a:gd name="T101" fmla="*/ 964 h 1295"/>
                <a:gd name="T102" fmla="*/ 195 w 1457"/>
                <a:gd name="T103" fmla="*/ 866 h 1295"/>
                <a:gd name="T104" fmla="*/ 162 w 1457"/>
                <a:gd name="T105" fmla="*/ 770 h 1295"/>
                <a:gd name="T106" fmla="*/ 131 w 1457"/>
                <a:gd name="T107" fmla="*/ 762 h 1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7" h="1295">
                  <a:moveTo>
                    <a:pt x="182" y="441"/>
                  </a:moveTo>
                  <a:cubicBezTo>
                    <a:pt x="138" y="419"/>
                    <a:pt x="128" y="361"/>
                    <a:pt x="163" y="326"/>
                  </a:cubicBezTo>
                  <a:cubicBezTo>
                    <a:pt x="484" y="0"/>
                    <a:pt x="654" y="98"/>
                    <a:pt x="724" y="120"/>
                  </a:cubicBezTo>
                  <a:cubicBezTo>
                    <a:pt x="823" y="149"/>
                    <a:pt x="1071" y="278"/>
                    <a:pt x="1145" y="295"/>
                  </a:cubicBezTo>
                  <a:cubicBezTo>
                    <a:pt x="1199" y="308"/>
                    <a:pt x="1348" y="206"/>
                    <a:pt x="1419" y="153"/>
                  </a:cubicBezTo>
                  <a:cubicBezTo>
                    <a:pt x="1435" y="142"/>
                    <a:pt x="1457" y="153"/>
                    <a:pt x="1457" y="172"/>
                  </a:cubicBezTo>
                  <a:cubicBezTo>
                    <a:pt x="1457" y="172"/>
                    <a:pt x="1457" y="172"/>
                    <a:pt x="1457" y="660"/>
                  </a:cubicBezTo>
                  <a:cubicBezTo>
                    <a:pt x="1457" y="666"/>
                    <a:pt x="1454" y="670"/>
                    <a:pt x="1449" y="672"/>
                  </a:cubicBezTo>
                  <a:cubicBezTo>
                    <a:pt x="1449" y="672"/>
                    <a:pt x="1449" y="672"/>
                    <a:pt x="1275" y="716"/>
                  </a:cubicBezTo>
                  <a:cubicBezTo>
                    <a:pt x="1271" y="718"/>
                    <a:pt x="1266" y="717"/>
                    <a:pt x="1263" y="715"/>
                  </a:cubicBezTo>
                  <a:cubicBezTo>
                    <a:pt x="1207" y="679"/>
                    <a:pt x="737" y="382"/>
                    <a:pt x="668" y="358"/>
                  </a:cubicBezTo>
                  <a:cubicBezTo>
                    <a:pt x="614" y="338"/>
                    <a:pt x="510" y="340"/>
                    <a:pt x="462" y="341"/>
                  </a:cubicBezTo>
                  <a:cubicBezTo>
                    <a:pt x="446" y="342"/>
                    <a:pt x="431" y="349"/>
                    <a:pt x="421" y="361"/>
                  </a:cubicBezTo>
                  <a:cubicBezTo>
                    <a:pt x="320" y="472"/>
                    <a:pt x="237" y="468"/>
                    <a:pt x="182" y="441"/>
                  </a:cubicBezTo>
                  <a:close/>
                  <a:moveTo>
                    <a:pt x="592" y="1039"/>
                  </a:moveTo>
                  <a:cubicBezTo>
                    <a:pt x="566" y="1039"/>
                    <a:pt x="541" y="1054"/>
                    <a:pt x="528" y="1079"/>
                  </a:cubicBezTo>
                  <a:cubicBezTo>
                    <a:pt x="472" y="1191"/>
                    <a:pt x="472" y="1191"/>
                    <a:pt x="472" y="1191"/>
                  </a:cubicBezTo>
                  <a:cubicBezTo>
                    <a:pt x="455" y="1227"/>
                    <a:pt x="469" y="1270"/>
                    <a:pt x="505" y="1287"/>
                  </a:cubicBezTo>
                  <a:cubicBezTo>
                    <a:pt x="505" y="1287"/>
                    <a:pt x="505" y="1287"/>
                    <a:pt x="505" y="1287"/>
                  </a:cubicBezTo>
                  <a:cubicBezTo>
                    <a:pt x="515" y="1292"/>
                    <a:pt x="526" y="1295"/>
                    <a:pt x="536" y="1295"/>
                  </a:cubicBezTo>
                  <a:cubicBezTo>
                    <a:pt x="563" y="1295"/>
                    <a:pt x="588" y="1280"/>
                    <a:pt x="601" y="1255"/>
                  </a:cubicBezTo>
                  <a:cubicBezTo>
                    <a:pt x="657" y="1143"/>
                    <a:pt x="657" y="1143"/>
                    <a:pt x="657" y="1143"/>
                  </a:cubicBezTo>
                  <a:cubicBezTo>
                    <a:pt x="674" y="1107"/>
                    <a:pt x="660" y="1064"/>
                    <a:pt x="624" y="1046"/>
                  </a:cubicBezTo>
                  <a:cubicBezTo>
                    <a:pt x="614" y="1041"/>
                    <a:pt x="603" y="1039"/>
                    <a:pt x="592" y="1039"/>
                  </a:cubicBezTo>
                  <a:moveTo>
                    <a:pt x="462" y="901"/>
                  </a:moveTo>
                  <a:cubicBezTo>
                    <a:pt x="435" y="901"/>
                    <a:pt x="410" y="916"/>
                    <a:pt x="397" y="941"/>
                  </a:cubicBezTo>
                  <a:cubicBezTo>
                    <a:pt x="307" y="1123"/>
                    <a:pt x="307" y="1123"/>
                    <a:pt x="307" y="1123"/>
                  </a:cubicBezTo>
                  <a:cubicBezTo>
                    <a:pt x="289" y="1159"/>
                    <a:pt x="304" y="1202"/>
                    <a:pt x="339" y="1219"/>
                  </a:cubicBezTo>
                  <a:cubicBezTo>
                    <a:pt x="339" y="1219"/>
                    <a:pt x="339" y="1219"/>
                    <a:pt x="339" y="1219"/>
                  </a:cubicBezTo>
                  <a:cubicBezTo>
                    <a:pt x="350" y="1224"/>
                    <a:pt x="360" y="1227"/>
                    <a:pt x="371" y="1227"/>
                  </a:cubicBezTo>
                  <a:cubicBezTo>
                    <a:pt x="397" y="1227"/>
                    <a:pt x="423" y="1212"/>
                    <a:pt x="435" y="1187"/>
                  </a:cubicBezTo>
                  <a:cubicBezTo>
                    <a:pt x="526" y="1005"/>
                    <a:pt x="526" y="1005"/>
                    <a:pt x="526" y="1005"/>
                  </a:cubicBezTo>
                  <a:cubicBezTo>
                    <a:pt x="543" y="970"/>
                    <a:pt x="529" y="927"/>
                    <a:pt x="493" y="909"/>
                  </a:cubicBezTo>
                  <a:cubicBezTo>
                    <a:pt x="493" y="909"/>
                    <a:pt x="493" y="909"/>
                    <a:pt x="493" y="909"/>
                  </a:cubicBezTo>
                  <a:cubicBezTo>
                    <a:pt x="483" y="904"/>
                    <a:pt x="472" y="901"/>
                    <a:pt x="462" y="901"/>
                  </a:cubicBezTo>
                  <a:moveTo>
                    <a:pt x="298" y="829"/>
                  </a:moveTo>
                  <a:cubicBezTo>
                    <a:pt x="271" y="829"/>
                    <a:pt x="246" y="844"/>
                    <a:pt x="233" y="869"/>
                  </a:cubicBezTo>
                  <a:cubicBezTo>
                    <a:pt x="150" y="1036"/>
                    <a:pt x="150" y="1036"/>
                    <a:pt x="150" y="1036"/>
                  </a:cubicBezTo>
                  <a:cubicBezTo>
                    <a:pt x="133" y="1072"/>
                    <a:pt x="147" y="1115"/>
                    <a:pt x="183" y="1132"/>
                  </a:cubicBezTo>
                  <a:cubicBezTo>
                    <a:pt x="193" y="1138"/>
                    <a:pt x="204" y="1140"/>
                    <a:pt x="215" y="1140"/>
                  </a:cubicBezTo>
                  <a:cubicBezTo>
                    <a:pt x="241" y="1140"/>
                    <a:pt x="266" y="1125"/>
                    <a:pt x="279" y="1100"/>
                  </a:cubicBezTo>
                  <a:cubicBezTo>
                    <a:pt x="362" y="933"/>
                    <a:pt x="362" y="933"/>
                    <a:pt x="362" y="933"/>
                  </a:cubicBezTo>
                  <a:cubicBezTo>
                    <a:pt x="379" y="898"/>
                    <a:pt x="365" y="855"/>
                    <a:pt x="330" y="837"/>
                  </a:cubicBezTo>
                  <a:cubicBezTo>
                    <a:pt x="330" y="837"/>
                    <a:pt x="330" y="837"/>
                    <a:pt x="330" y="837"/>
                  </a:cubicBezTo>
                  <a:cubicBezTo>
                    <a:pt x="319" y="832"/>
                    <a:pt x="308" y="829"/>
                    <a:pt x="298" y="829"/>
                  </a:cubicBezTo>
                  <a:moveTo>
                    <a:pt x="131" y="762"/>
                  </a:moveTo>
                  <a:cubicBezTo>
                    <a:pt x="104" y="762"/>
                    <a:pt x="79" y="777"/>
                    <a:pt x="66" y="802"/>
                  </a:cubicBezTo>
                  <a:cubicBezTo>
                    <a:pt x="18" y="900"/>
                    <a:pt x="18" y="900"/>
                    <a:pt x="18" y="900"/>
                  </a:cubicBezTo>
                  <a:cubicBezTo>
                    <a:pt x="0" y="936"/>
                    <a:pt x="14" y="979"/>
                    <a:pt x="50" y="996"/>
                  </a:cubicBezTo>
                  <a:cubicBezTo>
                    <a:pt x="60" y="1002"/>
                    <a:pt x="71" y="1004"/>
                    <a:pt x="82" y="1004"/>
                  </a:cubicBezTo>
                  <a:cubicBezTo>
                    <a:pt x="108" y="1004"/>
                    <a:pt x="133" y="989"/>
                    <a:pt x="146" y="964"/>
                  </a:cubicBezTo>
                  <a:cubicBezTo>
                    <a:pt x="195" y="866"/>
                    <a:pt x="195" y="866"/>
                    <a:pt x="195" y="866"/>
                  </a:cubicBezTo>
                  <a:cubicBezTo>
                    <a:pt x="212" y="830"/>
                    <a:pt x="198" y="787"/>
                    <a:pt x="162" y="770"/>
                  </a:cubicBezTo>
                  <a:cubicBezTo>
                    <a:pt x="152" y="765"/>
                    <a:pt x="141" y="762"/>
                    <a:pt x="131" y="762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BEEA739B-1920-46AB-AA79-E98A60A777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1" y="921"/>
              <a:ext cx="3007" cy="2422"/>
            </a:xfrm>
            <a:custGeom>
              <a:avLst/>
              <a:gdLst>
                <a:gd name="T0" fmla="*/ 262 w 1605"/>
                <a:gd name="T1" fmla="*/ 725 h 1292"/>
                <a:gd name="T2" fmla="*/ 15 w 1605"/>
                <a:gd name="T3" fmla="*/ 587 h 1292"/>
                <a:gd name="T4" fmla="*/ 0 w 1605"/>
                <a:gd name="T5" fmla="*/ 37 h 1292"/>
                <a:gd name="T6" fmla="*/ 36 w 1605"/>
                <a:gd name="T7" fmla="*/ 0 h 1292"/>
                <a:gd name="T8" fmla="*/ 155 w 1605"/>
                <a:gd name="T9" fmla="*/ 96 h 1292"/>
                <a:gd name="T10" fmla="*/ 324 w 1605"/>
                <a:gd name="T11" fmla="*/ 190 h 1292"/>
                <a:gd name="T12" fmla="*/ 364 w 1605"/>
                <a:gd name="T13" fmla="*/ 178 h 1292"/>
                <a:gd name="T14" fmla="*/ 366 w 1605"/>
                <a:gd name="T15" fmla="*/ 207 h 1292"/>
                <a:gd name="T16" fmla="*/ 324 w 1605"/>
                <a:gd name="T17" fmla="*/ 226 h 1292"/>
                <a:gd name="T18" fmla="*/ 36 w 1605"/>
                <a:gd name="T19" fmla="*/ 36 h 1292"/>
                <a:gd name="T20" fmla="*/ 1538 w 1605"/>
                <a:gd name="T21" fmla="*/ 719 h 1292"/>
                <a:gd name="T22" fmla="*/ 785 w 1605"/>
                <a:gd name="T23" fmla="*/ 307 h 1292"/>
                <a:gd name="T24" fmla="*/ 1544 w 1605"/>
                <a:gd name="T25" fmla="*/ 848 h 1292"/>
                <a:gd name="T26" fmla="*/ 1482 w 1605"/>
                <a:gd name="T27" fmla="*/ 883 h 1292"/>
                <a:gd name="T28" fmla="*/ 1236 w 1605"/>
                <a:gd name="T29" fmla="*/ 747 h 1292"/>
                <a:gd name="T30" fmla="*/ 1210 w 1605"/>
                <a:gd name="T31" fmla="*/ 752 h 1292"/>
                <a:gd name="T32" fmla="*/ 1380 w 1605"/>
                <a:gd name="T33" fmla="*/ 881 h 1292"/>
                <a:gd name="T34" fmla="*/ 1345 w 1605"/>
                <a:gd name="T35" fmla="*/ 1015 h 1292"/>
                <a:gd name="T36" fmla="*/ 1123 w 1605"/>
                <a:gd name="T37" fmla="*/ 893 h 1292"/>
                <a:gd name="T38" fmla="*/ 1098 w 1605"/>
                <a:gd name="T39" fmla="*/ 898 h 1292"/>
                <a:gd name="T40" fmla="*/ 1229 w 1605"/>
                <a:gd name="T41" fmla="*/ 1002 h 1292"/>
                <a:gd name="T42" fmla="*/ 1253 w 1605"/>
                <a:gd name="T43" fmla="*/ 1100 h 1292"/>
                <a:gd name="T44" fmla="*/ 1155 w 1605"/>
                <a:gd name="T45" fmla="*/ 1124 h 1292"/>
                <a:gd name="T46" fmla="*/ 986 w 1605"/>
                <a:gd name="T47" fmla="*/ 1044 h 1292"/>
                <a:gd name="T48" fmla="*/ 992 w 1605"/>
                <a:gd name="T49" fmla="*/ 1075 h 1292"/>
                <a:gd name="T50" fmla="*/ 1097 w 1605"/>
                <a:gd name="T51" fmla="*/ 1222 h 1292"/>
                <a:gd name="T52" fmla="*/ 998 w 1605"/>
                <a:gd name="T53" fmla="*/ 1246 h 1292"/>
                <a:gd name="T54" fmla="*/ 862 w 1605"/>
                <a:gd name="T55" fmla="*/ 1206 h 1292"/>
                <a:gd name="T56" fmla="*/ 1035 w 1605"/>
                <a:gd name="T57" fmla="*/ 1292 h 1292"/>
                <a:gd name="T58" fmla="*/ 1139 w 1605"/>
                <a:gd name="T59" fmla="*/ 1157 h 1292"/>
                <a:gd name="T60" fmla="*/ 1284 w 1605"/>
                <a:gd name="T61" fmla="*/ 1119 h 1292"/>
                <a:gd name="T62" fmla="*/ 1345 w 1605"/>
                <a:gd name="T63" fmla="*/ 1051 h 1292"/>
                <a:gd name="T64" fmla="*/ 1450 w 1605"/>
                <a:gd name="T65" fmla="*/ 917 h 1292"/>
                <a:gd name="T66" fmla="*/ 1482 w 1605"/>
                <a:gd name="T67" fmla="*/ 919 h 1292"/>
                <a:gd name="T68" fmla="*/ 1538 w 1605"/>
                <a:gd name="T69" fmla="*/ 719 h 1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5" h="1292">
                  <a:moveTo>
                    <a:pt x="36" y="558"/>
                  </a:moveTo>
                  <a:cubicBezTo>
                    <a:pt x="262" y="725"/>
                    <a:pt x="262" y="725"/>
                    <a:pt x="262" y="725"/>
                  </a:cubicBezTo>
                  <a:cubicBezTo>
                    <a:pt x="246" y="757"/>
                    <a:pt x="246" y="757"/>
                    <a:pt x="246" y="757"/>
                  </a:cubicBezTo>
                  <a:cubicBezTo>
                    <a:pt x="15" y="587"/>
                    <a:pt x="15" y="587"/>
                    <a:pt x="15" y="587"/>
                  </a:cubicBezTo>
                  <a:cubicBezTo>
                    <a:pt x="6" y="580"/>
                    <a:pt x="0" y="569"/>
                    <a:pt x="0" y="55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4"/>
                    <a:pt x="7" y="11"/>
                    <a:pt x="18" y="5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5" y="0"/>
                    <a:pt x="54" y="3"/>
                    <a:pt x="61" y="9"/>
                  </a:cubicBezTo>
                  <a:cubicBezTo>
                    <a:pt x="155" y="96"/>
                    <a:pt x="155" y="96"/>
                    <a:pt x="155" y="96"/>
                  </a:cubicBezTo>
                  <a:cubicBezTo>
                    <a:pt x="156" y="97"/>
                    <a:pt x="156" y="97"/>
                    <a:pt x="156" y="97"/>
                  </a:cubicBezTo>
                  <a:cubicBezTo>
                    <a:pt x="182" y="123"/>
                    <a:pt x="263" y="190"/>
                    <a:pt x="324" y="190"/>
                  </a:cubicBezTo>
                  <a:cubicBezTo>
                    <a:pt x="336" y="190"/>
                    <a:pt x="346" y="187"/>
                    <a:pt x="355" y="182"/>
                  </a:cubicBezTo>
                  <a:cubicBezTo>
                    <a:pt x="358" y="180"/>
                    <a:pt x="361" y="179"/>
                    <a:pt x="364" y="178"/>
                  </a:cubicBezTo>
                  <a:cubicBezTo>
                    <a:pt x="413" y="161"/>
                    <a:pt x="413" y="161"/>
                    <a:pt x="413" y="161"/>
                  </a:cubicBezTo>
                  <a:cubicBezTo>
                    <a:pt x="397" y="176"/>
                    <a:pt x="382" y="191"/>
                    <a:pt x="366" y="207"/>
                  </a:cubicBezTo>
                  <a:cubicBezTo>
                    <a:pt x="361" y="212"/>
                    <a:pt x="357" y="217"/>
                    <a:pt x="353" y="222"/>
                  </a:cubicBezTo>
                  <a:cubicBezTo>
                    <a:pt x="344" y="225"/>
                    <a:pt x="334" y="226"/>
                    <a:pt x="324" y="226"/>
                  </a:cubicBezTo>
                  <a:cubicBezTo>
                    <a:pt x="234" y="226"/>
                    <a:pt x="131" y="123"/>
                    <a:pt x="131" y="123"/>
                  </a:cubicBezTo>
                  <a:cubicBezTo>
                    <a:pt x="36" y="36"/>
                    <a:pt x="36" y="36"/>
                    <a:pt x="36" y="36"/>
                  </a:cubicBezTo>
                  <a:lnTo>
                    <a:pt x="36" y="558"/>
                  </a:lnTo>
                  <a:close/>
                  <a:moveTo>
                    <a:pt x="1538" y="719"/>
                  </a:moveTo>
                  <a:cubicBezTo>
                    <a:pt x="868" y="315"/>
                    <a:pt x="868" y="315"/>
                    <a:pt x="868" y="315"/>
                  </a:cubicBezTo>
                  <a:cubicBezTo>
                    <a:pt x="850" y="312"/>
                    <a:pt x="824" y="309"/>
                    <a:pt x="785" y="307"/>
                  </a:cubicBezTo>
                  <a:cubicBezTo>
                    <a:pt x="1520" y="750"/>
                    <a:pt x="1520" y="750"/>
                    <a:pt x="1520" y="750"/>
                  </a:cubicBezTo>
                  <a:cubicBezTo>
                    <a:pt x="1553" y="770"/>
                    <a:pt x="1564" y="814"/>
                    <a:pt x="1544" y="848"/>
                  </a:cubicBezTo>
                  <a:cubicBezTo>
                    <a:pt x="1544" y="848"/>
                    <a:pt x="1544" y="848"/>
                    <a:pt x="1544" y="848"/>
                  </a:cubicBezTo>
                  <a:cubicBezTo>
                    <a:pt x="1531" y="871"/>
                    <a:pt x="1507" y="883"/>
                    <a:pt x="1482" y="883"/>
                  </a:cubicBezTo>
                  <a:cubicBezTo>
                    <a:pt x="1470" y="883"/>
                    <a:pt x="1457" y="880"/>
                    <a:pt x="1446" y="873"/>
                  </a:cubicBezTo>
                  <a:cubicBezTo>
                    <a:pt x="1236" y="747"/>
                    <a:pt x="1236" y="747"/>
                    <a:pt x="1236" y="747"/>
                  </a:cubicBezTo>
                  <a:cubicBezTo>
                    <a:pt x="1227" y="741"/>
                    <a:pt x="1216" y="743"/>
                    <a:pt x="1210" y="752"/>
                  </a:cubicBezTo>
                  <a:cubicBezTo>
                    <a:pt x="1210" y="752"/>
                    <a:pt x="1210" y="752"/>
                    <a:pt x="1210" y="752"/>
                  </a:cubicBezTo>
                  <a:cubicBezTo>
                    <a:pt x="1202" y="761"/>
                    <a:pt x="1205" y="775"/>
                    <a:pt x="1215" y="781"/>
                  </a:cubicBezTo>
                  <a:cubicBezTo>
                    <a:pt x="1380" y="881"/>
                    <a:pt x="1380" y="881"/>
                    <a:pt x="1380" y="881"/>
                  </a:cubicBezTo>
                  <a:cubicBezTo>
                    <a:pt x="1414" y="901"/>
                    <a:pt x="1427" y="947"/>
                    <a:pt x="1406" y="981"/>
                  </a:cubicBezTo>
                  <a:cubicBezTo>
                    <a:pt x="1393" y="1003"/>
                    <a:pt x="1369" y="1015"/>
                    <a:pt x="1345" y="1015"/>
                  </a:cubicBezTo>
                  <a:cubicBezTo>
                    <a:pt x="1332" y="1015"/>
                    <a:pt x="1320" y="1012"/>
                    <a:pt x="1308" y="1005"/>
                  </a:cubicBezTo>
                  <a:cubicBezTo>
                    <a:pt x="1123" y="893"/>
                    <a:pt x="1123" y="893"/>
                    <a:pt x="1123" y="893"/>
                  </a:cubicBezTo>
                  <a:cubicBezTo>
                    <a:pt x="1115" y="888"/>
                    <a:pt x="1104" y="890"/>
                    <a:pt x="1098" y="898"/>
                  </a:cubicBezTo>
                  <a:cubicBezTo>
                    <a:pt x="1098" y="898"/>
                    <a:pt x="1098" y="898"/>
                    <a:pt x="1098" y="898"/>
                  </a:cubicBezTo>
                  <a:cubicBezTo>
                    <a:pt x="1091" y="907"/>
                    <a:pt x="1093" y="920"/>
                    <a:pt x="1103" y="926"/>
                  </a:cubicBezTo>
                  <a:cubicBezTo>
                    <a:pt x="1229" y="1002"/>
                    <a:pt x="1229" y="1002"/>
                    <a:pt x="1229" y="1002"/>
                  </a:cubicBezTo>
                  <a:cubicBezTo>
                    <a:pt x="1263" y="1022"/>
                    <a:pt x="1274" y="1066"/>
                    <a:pt x="1253" y="1100"/>
                  </a:cubicBezTo>
                  <a:cubicBezTo>
                    <a:pt x="1253" y="1100"/>
                    <a:pt x="1253" y="1100"/>
                    <a:pt x="1253" y="1100"/>
                  </a:cubicBezTo>
                  <a:cubicBezTo>
                    <a:pt x="1240" y="1122"/>
                    <a:pt x="1216" y="1135"/>
                    <a:pt x="1192" y="1135"/>
                  </a:cubicBezTo>
                  <a:cubicBezTo>
                    <a:pt x="1179" y="1135"/>
                    <a:pt x="1167" y="1131"/>
                    <a:pt x="1155" y="1124"/>
                  </a:cubicBezTo>
                  <a:cubicBezTo>
                    <a:pt x="1013" y="1039"/>
                    <a:pt x="1013" y="1039"/>
                    <a:pt x="1013" y="1039"/>
                  </a:cubicBezTo>
                  <a:cubicBezTo>
                    <a:pt x="1004" y="1033"/>
                    <a:pt x="992" y="1036"/>
                    <a:pt x="986" y="1044"/>
                  </a:cubicBezTo>
                  <a:cubicBezTo>
                    <a:pt x="986" y="1044"/>
                    <a:pt x="986" y="1044"/>
                    <a:pt x="986" y="1044"/>
                  </a:cubicBezTo>
                  <a:cubicBezTo>
                    <a:pt x="978" y="1054"/>
                    <a:pt x="981" y="1068"/>
                    <a:pt x="992" y="1075"/>
                  </a:cubicBezTo>
                  <a:cubicBezTo>
                    <a:pt x="1071" y="1122"/>
                    <a:pt x="1071" y="1122"/>
                    <a:pt x="1071" y="1122"/>
                  </a:cubicBezTo>
                  <a:cubicBezTo>
                    <a:pt x="1105" y="1143"/>
                    <a:pt x="1117" y="1188"/>
                    <a:pt x="1097" y="1222"/>
                  </a:cubicBezTo>
                  <a:cubicBezTo>
                    <a:pt x="1083" y="1244"/>
                    <a:pt x="1059" y="1256"/>
                    <a:pt x="1035" y="1256"/>
                  </a:cubicBezTo>
                  <a:cubicBezTo>
                    <a:pt x="1023" y="1256"/>
                    <a:pt x="1010" y="1253"/>
                    <a:pt x="998" y="1246"/>
                  </a:cubicBezTo>
                  <a:cubicBezTo>
                    <a:pt x="884" y="1177"/>
                    <a:pt x="884" y="1177"/>
                    <a:pt x="884" y="1177"/>
                  </a:cubicBezTo>
                  <a:cubicBezTo>
                    <a:pt x="862" y="1206"/>
                    <a:pt x="862" y="1206"/>
                    <a:pt x="862" y="1206"/>
                  </a:cubicBezTo>
                  <a:cubicBezTo>
                    <a:pt x="980" y="1277"/>
                    <a:pt x="980" y="1277"/>
                    <a:pt x="980" y="1277"/>
                  </a:cubicBezTo>
                  <a:cubicBezTo>
                    <a:pt x="997" y="1287"/>
                    <a:pt x="1016" y="1292"/>
                    <a:pt x="1035" y="1292"/>
                  </a:cubicBezTo>
                  <a:cubicBezTo>
                    <a:pt x="1073" y="1292"/>
                    <a:pt x="1108" y="1272"/>
                    <a:pt x="1128" y="1240"/>
                  </a:cubicBezTo>
                  <a:cubicBezTo>
                    <a:pt x="1143" y="1214"/>
                    <a:pt x="1147" y="1184"/>
                    <a:pt x="1139" y="1157"/>
                  </a:cubicBezTo>
                  <a:cubicBezTo>
                    <a:pt x="1155" y="1166"/>
                    <a:pt x="1174" y="1171"/>
                    <a:pt x="1192" y="1171"/>
                  </a:cubicBezTo>
                  <a:cubicBezTo>
                    <a:pt x="1230" y="1171"/>
                    <a:pt x="1265" y="1151"/>
                    <a:pt x="1284" y="1119"/>
                  </a:cubicBezTo>
                  <a:cubicBezTo>
                    <a:pt x="1299" y="1094"/>
                    <a:pt x="1303" y="1066"/>
                    <a:pt x="1297" y="1040"/>
                  </a:cubicBezTo>
                  <a:cubicBezTo>
                    <a:pt x="1312" y="1047"/>
                    <a:pt x="1328" y="1051"/>
                    <a:pt x="1345" y="1051"/>
                  </a:cubicBezTo>
                  <a:cubicBezTo>
                    <a:pt x="1383" y="1051"/>
                    <a:pt x="1418" y="1031"/>
                    <a:pt x="1437" y="999"/>
                  </a:cubicBezTo>
                  <a:cubicBezTo>
                    <a:pt x="1452" y="974"/>
                    <a:pt x="1457" y="945"/>
                    <a:pt x="1450" y="917"/>
                  </a:cubicBezTo>
                  <a:cubicBezTo>
                    <a:pt x="1449" y="916"/>
                    <a:pt x="1449" y="915"/>
                    <a:pt x="1449" y="913"/>
                  </a:cubicBezTo>
                  <a:cubicBezTo>
                    <a:pt x="1459" y="917"/>
                    <a:pt x="1471" y="919"/>
                    <a:pt x="1482" y="919"/>
                  </a:cubicBezTo>
                  <a:cubicBezTo>
                    <a:pt x="1520" y="919"/>
                    <a:pt x="1555" y="899"/>
                    <a:pt x="1575" y="867"/>
                  </a:cubicBezTo>
                  <a:cubicBezTo>
                    <a:pt x="1605" y="816"/>
                    <a:pt x="1589" y="750"/>
                    <a:pt x="1538" y="7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5837FFAB-E6C2-46F6-874D-DFF25DB2F9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28" imgH="328" progId="TCLayout.ActiveDocument.1">
                  <p:embed/>
                </p:oleObj>
              </mc:Choice>
              <mc:Fallback>
                <p:oleObj name="think-cell Slide" r:id="rId9" imgW="328" imgH="328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5837FFAB-E6C2-46F6-874D-DFF25DB2F9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5132EFBB-0DB3-4D6F-B8DF-C0A379AD05F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5132EFBB-0DB3-4D6F-B8DF-C0A379AD05F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>
            <a:extLst>
              <a:ext uri="{FF2B5EF4-FFF2-40B4-BE49-F238E27FC236}">
                <a16:creationId xmlns:a16="http://schemas.microsoft.com/office/drawing/2014/main" id="{0D60CCED-5246-4D4C-A54D-46AB323729D3}"/>
              </a:ext>
            </a:extLst>
          </p:cNvPr>
          <p:cNvGrpSpPr>
            <a:grpSpLocks noChangeAspect="1"/>
          </p:cNvGrpSpPr>
          <p:nvPr/>
        </p:nvGrpSpPr>
        <p:grpSpPr>
          <a:xfrm>
            <a:off x="119006" y="2117333"/>
            <a:ext cx="818141" cy="818141"/>
            <a:chOff x="5272088" y="2605088"/>
            <a:chExt cx="1647825" cy="1647825"/>
          </a:xfrm>
        </p:grpSpPr>
        <p:sp>
          <p:nvSpPr>
            <p:cNvPr id="26" name="AutoShape 120">
              <a:extLst>
                <a:ext uri="{FF2B5EF4-FFF2-40B4-BE49-F238E27FC236}">
                  <a16:creationId xmlns:a16="http://schemas.microsoft.com/office/drawing/2014/main" id="{0231792F-EA87-40A6-B962-7A7C2B0E25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088" y="2605088"/>
              <a:ext cx="1647825" cy="1647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6911CDA-9CEE-4292-890E-DC7DFA0F0E22}"/>
                </a:ext>
              </a:extLst>
            </p:cNvPr>
            <p:cNvGrpSpPr/>
            <p:nvPr/>
          </p:nvGrpSpPr>
          <p:grpSpPr>
            <a:xfrm>
              <a:off x="5494338" y="2879725"/>
              <a:ext cx="1152526" cy="1143001"/>
              <a:chOff x="5494338" y="2879725"/>
              <a:chExt cx="1152526" cy="1143001"/>
            </a:xfrm>
          </p:grpSpPr>
          <p:sp>
            <p:nvSpPr>
              <p:cNvPr id="28" name="Freeform 12">
                <a:extLst>
                  <a:ext uri="{FF2B5EF4-FFF2-40B4-BE49-F238E27FC236}">
                    <a16:creationId xmlns:a16="http://schemas.microsoft.com/office/drawing/2014/main" id="{F327B046-2491-4F3B-87F7-C2A62914D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0901" y="2879725"/>
                <a:ext cx="715963" cy="712788"/>
              </a:xfrm>
              <a:custGeom>
                <a:avLst/>
                <a:gdLst>
                  <a:gd name="connsiteX0" fmla="*/ 566864 w 715963"/>
                  <a:gd name="connsiteY0" fmla="*/ 178516 h 712788"/>
                  <a:gd name="connsiteX1" fmla="*/ 576886 w 715963"/>
                  <a:gd name="connsiteY1" fmla="*/ 183528 h 712788"/>
                  <a:gd name="connsiteX2" fmla="*/ 574738 w 715963"/>
                  <a:gd name="connsiteY2" fmla="*/ 205721 h 712788"/>
                  <a:gd name="connsiteX3" fmla="*/ 397215 w 715963"/>
                  <a:gd name="connsiteY3" fmla="*/ 357499 h 712788"/>
                  <a:gd name="connsiteX4" fmla="*/ 397215 w 715963"/>
                  <a:gd name="connsiteY4" fmla="*/ 358931 h 712788"/>
                  <a:gd name="connsiteX5" fmla="*/ 357845 w 715963"/>
                  <a:gd name="connsiteY5" fmla="*/ 396875 h 712788"/>
                  <a:gd name="connsiteX6" fmla="*/ 319191 w 715963"/>
                  <a:gd name="connsiteY6" fmla="*/ 360363 h 712788"/>
                  <a:gd name="connsiteX7" fmla="*/ 197502 w 715963"/>
                  <a:gd name="connsiteY7" fmla="*/ 275883 h 712788"/>
                  <a:gd name="connsiteX8" fmla="*/ 193207 w 715963"/>
                  <a:gd name="connsiteY8" fmla="*/ 255837 h 712788"/>
                  <a:gd name="connsiteX9" fmla="*/ 213250 w 715963"/>
                  <a:gd name="connsiteY9" fmla="*/ 250109 h 712788"/>
                  <a:gd name="connsiteX10" fmla="*/ 343529 w 715963"/>
                  <a:gd name="connsiteY10" fmla="*/ 322418 h 712788"/>
                  <a:gd name="connsiteX11" fmla="*/ 357845 w 715963"/>
                  <a:gd name="connsiteY11" fmla="*/ 320270 h 712788"/>
                  <a:gd name="connsiteX12" fmla="*/ 367867 w 715963"/>
                  <a:gd name="connsiteY12" fmla="*/ 321702 h 712788"/>
                  <a:gd name="connsiteX13" fmla="*/ 556127 w 715963"/>
                  <a:gd name="connsiteY13" fmla="*/ 181380 h 712788"/>
                  <a:gd name="connsiteX14" fmla="*/ 566864 w 715963"/>
                  <a:gd name="connsiteY14" fmla="*/ 178516 h 712788"/>
                  <a:gd name="connsiteX15" fmla="*/ 357266 w 715963"/>
                  <a:gd name="connsiteY15" fmla="*/ 0 h 712788"/>
                  <a:gd name="connsiteX16" fmla="*/ 387336 w 715963"/>
                  <a:gd name="connsiteY16" fmla="*/ 1431 h 712788"/>
                  <a:gd name="connsiteX17" fmla="*/ 417407 w 715963"/>
                  <a:gd name="connsiteY17" fmla="*/ 5725 h 712788"/>
                  <a:gd name="connsiteX18" fmla="*/ 704508 w 715963"/>
                  <a:gd name="connsiteY18" fmla="*/ 264791 h 712788"/>
                  <a:gd name="connsiteX19" fmla="*/ 710951 w 715963"/>
                  <a:gd name="connsiteY19" fmla="*/ 293417 h 712788"/>
                  <a:gd name="connsiteX20" fmla="*/ 715963 w 715963"/>
                  <a:gd name="connsiteY20" fmla="*/ 358541 h 712788"/>
                  <a:gd name="connsiteX21" fmla="*/ 408815 w 715963"/>
                  <a:gd name="connsiteY21" fmla="*/ 712788 h 712788"/>
                  <a:gd name="connsiteX22" fmla="*/ 407383 w 715963"/>
                  <a:gd name="connsiteY22" fmla="*/ 693466 h 712788"/>
                  <a:gd name="connsiteX23" fmla="*/ 405951 w 715963"/>
                  <a:gd name="connsiteY23" fmla="*/ 681300 h 712788"/>
                  <a:gd name="connsiteX24" fmla="*/ 589238 w 715963"/>
                  <a:gd name="connsiteY24" fmla="*/ 588981 h 712788"/>
                  <a:gd name="connsiteX25" fmla="*/ 684461 w 715963"/>
                  <a:gd name="connsiteY25" fmla="*/ 358541 h 712788"/>
                  <a:gd name="connsiteX26" fmla="*/ 680165 w 715963"/>
                  <a:gd name="connsiteY26" fmla="*/ 299142 h 712788"/>
                  <a:gd name="connsiteX27" fmla="*/ 673721 w 715963"/>
                  <a:gd name="connsiteY27" fmla="*/ 273379 h 712788"/>
                  <a:gd name="connsiteX28" fmla="*/ 412395 w 715963"/>
                  <a:gd name="connsiteY28" fmla="*/ 36498 h 712788"/>
                  <a:gd name="connsiteX29" fmla="*/ 411679 w 715963"/>
                  <a:gd name="connsiteY29" fmla="*/ 36498 h 712788"/>
                  <a:gd name="connsiteX30" fmla="*/ 410963 w 715963"/>
                  <a:gd name="connsiteY30" fmla="*/ 36498 h 712788"/>
                  <a:gd name="connsiteX31" fmla="*/ 385188 w 715963"/>
                  <a:gd name="connsiteY31" fmla="*/ 32920 h 712788"/>
                  <a:gd name="connsiteX32" fmla="*/ 357266 w 715963"/>
                  <a:gd name="connsiteY32" fmla="*/ 31489 h 712788"/>
                  <a:gd name="connsiteX33" fmla="*/ 31502 w 715963"/>
                  <a:gd name="connsiteY33" fmla="*/ 354247 h 712788"/>
                  <a:gd name="connsiteX34" fmla="*/ 0 w 715963"/>
                  <a:gd name="connsiteY34" fmla="*/ 349953 h 712788"/>
                  <a:gd name="connsiteX35" fmla="*/ 357266 w 715963"/>
                  <a:gd name="connsiteY35" fmla="*/ 0 h 712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15963" h="712788">
                    <a:moveTo>
                      <a:pt x="566864" y="178516"/>
                    </a:moveTo>
                    <a:cubicBezTo>
                      <a:pt x="570443" y="178516"/>
                      <a:pt x="574022" y="180664"/>
                      <a:pt x="576886" y="183528"/>
                    </a:cubicBezTo>
                    <a:cubicBezTo>
                      <a:pt x="582612" y="189971"/>
                      <a:pt x="581896" y="199994"/>
                      <a:pt x="574738" y="205721"/>
                    </a:cubicBezTo>
                    <a:cubicBezTo>
                      <a:pt x="574738" y="205721"/>
                      <a:pt x="574738" y="205721"/>
                      <a:pt x="397215" y="357499"/>
                    </a:cubicBezTo>
                    <a:cubicBezTo>
                      <a:pt x="397215" y="357499"/>
                      <a:pt x="397215" y="358215"/>
                      <a:pt x="397215" y="358931"/>
                    </a:cubicBezTo>
                    <a:cubicBezTo>
                      <a:pt x="397215" y="379693"/>
                      <a:pt x="379320" y="396875"/>
                      <a:pt x="357845" y="396875"/>
                    </a:cubicBezTo>
                    <a:cubicBezTo>
                      <a:pt x="337087" y="396875"/>
                      <a:pt x="319907" y="380409"/>
                      <a:pt x="319191" y="360363"/>
                    </a:cubicBezTo>
                    <a:cubicBezTo>
                      <a:pt x="319191" y="360363"/>
                      <a:pt x="319191" y="360363"/>
                      <a:pt x="197502" y="275883"/>
                    </a:cubicBezTo>
                    <a:cubicBezTo>
                      <a:pt x="190344" y="272303"/>
                      <a:pt x="188912" y="262996"/>
                      <a:pt x="193207" y="255837"/>
                    </a:cubicBezTo>
                    <a:cubicBezTo>
                      <a:pt x="197502" y="248677"/>
                      <a:pt x="206092" y="246530"/>
                      <a:pt x="213250" y="250109"/>
                    </a:cubicBezTo>
                    <a:cubicBezTo>
                      <a:pt x="213250" y="250109"/>
                      <a:pt x="213250" y="250109"/>
                      <a:pt x="343529" y="322418"/>
                    </a:cubicBezTo>
                    <a:cubicBezTo>
                      <a:pt x="348540" y="320986"/>
                      <a:pt x="352835" y="320270"/>
                      <a:pt x="357845" y="320270"/>
                    </a:cubicBezTo>
                    <a:cubicBezTo>
                      <a:pt x="361424" y="320270"/>
                      <a:pt x="365004" y="320270"/>
                      <a:pt x="367867" y="321702"/>
                    </a:cubicBezTo>
                    <a:cubicBezTo>
                      <a:pt x="367867" y="321702"/>
                      <a:pt x="354982" y="333157"/>
                      <a:pt x="556127" y="181380"/>
                    </a:cubicBezTo>
                    <a:cubicBezTo>
                      <a:pt x="558990" y="179232"/>
                      <a:pt x="563285" y="177800"/>
                      <a:pt x="566864" y="178516"/>
                    </a:cubicBezTo>
                    <a:close/>
                    <a:moveTo>
                      <a:pt x="357266" y="0"/>
                    </a:moveTo>
                    <a:cubicBezTo>
                      <a:pt x="367289" y="0"/>
                      <a:pt x="377313" y="716"/>
                      <a:pt x="387336" y="1431"/>
                    </a:cubicBezTo>
                    <a:cubicBezTo>
                      <a:pt x="397360" y="2147"/>
                      <a:pt x="407383" y="3578"/>
                      <a:pt x="417407" y="5725"/>
                    </a:cubicBezTo>
                    <a:cubicBezTo>
                      <a:pt x="555588" y="28626"/>
                      <a:pt x="667278" y="131680"/>
                      <a:pt x="704508" y="264791"/>
                    </a:cubicBezTo>
                    <a:cubicBezTo>
                      <a:pt x="706656" y="274094"/>
                      <a:pt x="708804" y="283398"/>
                      <a:pt x="710951" y="293417"/>
                    </a:cubicBezTo>
                    <a:cubicBezTo>
                      <a:pt x="714531" y="314886"/>
                      <a:pt x="715963" y="336356"/>
                      <a:pt x="715963" y="358541"/>
                    </a:cubicBezTo>
                    <a:cubicBezTo>
                      <a:pt x="715963" y="538885"/>
                      <a:pt x="582794" y="687740"/>
                      <a:pt x="408815" y="712788"/>
                    </a:cubicBezTo>
                    <a:cubicBezTo>
                      <a:pt x="408099" y="706347"/>
                      <a:pt x="408099" y="699906"/>
                      <a:pt x="407383" y="693466"/>
                    </a:cubicBezTo>
                    <a:cubicBezTo>
                      <a:pt x="407383" y="693466"/>
                      <a:pt x="407383" y="693466"/>
                      <a:pt x="405951" y="681300"/>
                    </a:cubicBezTo>
                    <a:cubicBezTo>
                      <a:pt x="475400" y="671280"/>
                      <a:pt x="539120" y="639076"/>
                      <a:pt x="589238" y="588981"/>
                    </a:cubicBezTo>
                    <a:cubicBezTo>
                      <a:pt x="650811" y="527435"/>
                      <a:pt x="684461" y="445135"/>
                      <a:pt x="684461" y="358541"/>
                    </a:cubicBezTo>
                    <a:cubicBezTo>
                      <a:pt x="684461" y="339934"/>
                      <a:pt x="683029" y="320612"/>
                      <a:pt x="680165" y="299142"/>
                    </a:cubicBezTo>
                    <a:cubicBezTo>
                      <a:pt x="678017" y="289839"/>
                      <a:pt x="675869" y="281251"/>
                      <a:pt x="673721" y="273379"/>
                    </a:cubicBezTo>
                    <a:cubicBezTo>
                      <a:pt x="640071" y="151002"/>
                      <a:pt x="537688" y="57968"/>
                      <a:pt x="412395" y="36498"/>
                    </a:cubicBezTo>
                    <a:cubicBezTo>
                      <a:pt x="412395" y="36498"/>
                      <a:pt x="412395" y="36498"/>
                      <a:pt x="411679" y="36498"/>
                    </a:cubicBezTo>
                    <a:cubicBezTo>
                      <a:pt x="411679" y="36498"/>
                      <a:pt x="411679" y="36498"/>
                      <a:pt x="410963" y="36498"/>
                    </a:cubicBezTo>
                    <a:cubicBezTo>
                      <a:pt x="402371" y="35067"/>
                      <a:pt x="393780" y="33635"/>
                      <a:pt x="385188" y="32920"/>
                    </a:cubicBezTo>
                    <a:cubicBezTo>
                      <a:pt x="375881" y="32204"/>
                      <a:pt x="366573" y="31489"/>
                      <a:pt x="357266" y="31489"/>
                    </a:cubicBezTo>
                    <a:cubicBezTo>
                      <a:pt x="178991" y="31489"/>
                      <a:pt x="34366" y="176050"/>
                      <a:pt x="31502" y="354247"/>
                    </a:cubicBezTo>
                    <a:cubicBezTo>
                      <a:pt x="21479" y="352100"/>
                      <a:pt x="10739" y="351385"/>
                      <a:pt x="0" y="349953"/>
                    </a:cubicBezTo>
                    <a:cubicBezTo>
                      <a:pt x="4296" y="156727"/>
                      <a:pt x="162523" y="0"/>
                      <a:pt x="35726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9" name="Freeform 124">
                <a:extLst>
                  <a:ext uri="{FF2B5EF4-FFF2-40B4-BE49-F238E27FC236}">
                    <a16:creationId xmlns:a16="http://schemas.microsoft.com/office/drawing/2014/main" id="{E67F6161-F006-4AAB-B98C-9F757B34DC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4338" y="3214688"/>
                <a:ext cx="817563" cy="808038"/>
              </a:xfrm>
              <a:custGeom>
                <a:avLst/>
                <a:gdLst>
                  <a:gd name="T0" fmla="*/ 1139 w 1143"/>
                  <a:gd name="T1" fmla="*/ 532 h 1129"/>
                  <a:gd name="T2" fmla="*/ 1137 w 1143"/>
                  <a:gd name="T3" fmla="*/ 505 h 1129"/>
                  <a:gd name="T4" fmla="*/ 1110 w 1143"/>
                  <a:gd name="T5" fmla="*/ 489 h 1129"/>
                  <a:gd name="T6" fmla="*/ 1056 w 1143"/>
                  <a:gd name="T7" fmla="*/ 456 h 1129"/>
                  <a:gd name="T8" fmla="*/ 1026 w 1143"/>
                  <a:gd name="T9" fmla="*/ 365 h 1129"/>
                  <a:gd name="T10" fmla="*/ 976 w 1143"/>
                  <a:gd name="T11" fmla="*/ 274 h 1129"/>
                  <a:gd name="T12" fmla="*/ 994 w 1143"/>
                  <a:gd name="T13" fmla="*/ 182 h 1129"/>
                  <a:gd name="T14" fmla="*/ 802 w 1143"/>
                  <a:gd name="T15" fmla="*/ 39 h 1129"/>
                  <a:gd name="T16" fmla="*/ 718 w 1143"/>
                  <a:gd name="T17" fmla="*/ 87 h 1129"/>
                  <a:gd name="T18" fmla="*/ 658 w 1143"/>
                  <a:gd name="T19" fmla="*/ 71 h 1129"/>
                  <a:gd name="T20" fmla="*/ 613 w 1143"/>
                  <a:gd name="T21" fmla="*/ 66 h 1129"/>
                  <a:gd name="T22" fmla="*/ 571 w 1143"/>
                  <a:gd name="T23" fmla="*/ 64 h 1129"/>
                  <a:gd name="T24" fmla="*/ 535 w 1143"/>
                  <a:gd name="T25" fmla="*/ 65 h 1129"/>
                  <a:gd name="T26" fmla="*/ 464 w 1143"/>
                  <a:gd name="T27" fmla="*/ 0 h 1129"/>
                  <a:gd name="T28" fmla="*/ 347 w 1143"/>
                  <a:gd name="T29" fmla="*/ 36 h 1129"/>
                  <a:gd name="T30" fmla="*/ 240 w 1143"/>
                  <a:gd name="T31" fmla="*/ 97 h 1129"/>
                  <a:gd name="T32" fmla="*/ 240 w 1143"/>
                  <a:gd name="T33" fmla="*/ 195 h 1129"/>
                  <a:gd name="T34" fmla="*/ 128 w 1143"/>
                  <a:gd name="T35" fmla="*/ 344 h 1129"/>
                  <a:gd name="T36" fmla="*/ 39 w 1143"/>
                  <a:gd name="T37" fmla="*/ 373 h 1129"/>
                  <a:gd name="T38" fmla="*/ 5 w 1143"/>
                  <a:gd name="T39" fmla="*/ 616 h 1129"/>
                  <a:gd name="T40" fmla="*/ 87 w 1143"/>
                  <a:gd name="T41" fmla="*/ 664 h 1129"/>
                  <a:gd name="T42" fmla="*/ 120 w 1143"/>
                  <a:gd name="T43" fmla="*/ 761 h 1129"/>
                  <a:gd name="T44" fmla="*/ 165 w 1143"/>
                  <a:gd name="T45" fmla="*/ 847 h 1129"/>
                  <a:gd name="T46" fmla="*/ 142 w 1143"/>
                  <a:gd name="T47" fmla="*/ 939 h 1129"/>
                  <a:gd name="T48" fmla="*/ 331 w 1143"/>
                  <a:gd name="T49" fmla="*/ 1086 h 1129"/>
                  <a:gd name="T50" fmla="*/ 411 w 1143"/>
                  <a:gd name="T51" fmla="*/ 1037 h 1129"/>
                  <a:gd name="T52" fmla="*/ 576 w 1143"/>
                  <a:gd name="T53" fmla="*/ 1065 h 1129"/>
                  <a:gd name="T54" fmla="*/ 616 w 1143"/>
                  <a:gd name="T55" fmla="*/ 1063 h 1129"/>
                  <a:gd name="T56" fmla="*/ 687 w 1143"/>
                  <a:gd name="T57" fmla="*/ 1129 h 1129"/>
                  <a:gd name="T58" fmla="*/ 797 w 1143"/>
                  <a:gd name="T59" fmla="*/ 1094 h 1129"/>
                  <a:gd name="T60" fmla="*/ 899 w 1143"/>
                  <a:gd name="T61" fmla="*/ 1034 h 1129"/>
                  <a:gd name="T62" fmla="*/ 899 w 1143"/>
                  <a:gd name="T63" fmla="*/ 939 h 1129"/>
                  <a:gd name="T64" fmla="*/ 1023 w 1143"/>
                  <a:gd name="T65" fmla="*/ 771 h 1129"/>
                  <a:gd name="T66" fmla="*/ 1111 w 1143"/>
                  <a:gd name="T67" fmla="*/ 743 h 1129"/>
                  <a:gd name="T68" fmla="*/ 1139 w 1143"/>
                  <a:gd name="T69" fmla="*/ 532 h 1129"/>
                  <a:gd name="T70" fmla="*/ 672 w 1143"/>
                  <a:gd name="T71" fmla="*/ 795 h 1129"/>
                  <a:gd name="T72" fmla="*/ 573 w 1143"/>
                  <a:gd name="T73" fmla="*/ 817 h 1129"/>
                  <a:gd name="T74" fmla="*/ 346 w 1143"/>
                  <a:gd name="T75" fmla="*/ 664 h 1129"/>
                  <a:gd name="T76" fmla="*/ 474 w 1143"/>
                  <a:gd name="T77" fmla="*/ 335 h 1129"/>
                  <a:gd name="T78" fmla="*/ 570 w 1143"/>
                  <a:gd name="T79" fmla="*/ 314 h 1129"/>
                  <a:gd name="T80" fmla="*/ 799 w 1143"/>
                  <a:gd name="T81" fmla="*/ 465 h 1129"/>
                  <a:gd name="T82" fmla="*/ 672 w 1143"/>
                  <a:gd name="T83" fmla="*/ 795 h 1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43" h="1129">
                    <a:moveTo>
                      <a:pt x="1139" y="532"/>
                    </a:moveTo>
                    <a:cubicBezTo>
                      <a:pt x="1139" y="523"/>
                      <a:pt x="1138" y="514"/>
                      <a:pt x="1137" y="505"/>
                    </a:cubicBezTo>
                    <a:cubicBezTo>
                      <a:pt x="1127" y="499"/>
                      <a:pt x="1118" y="494"/>
                      <a:pt x="1110" y="489"/>
                    </a:cubicBezTo>
                    <a:cubicBezTo>
                      <a:pt x="1056" y="456"/>
                      <a:pt x="1056" y="456"/>
                      <a:pt x="1056" y="456"/>
                    </a:cubicBezTo>
                    <a:cubicBezTo>
                      <a:pt x="1049" y="426"/>
                      <a:pt x="1039" y="396"/>
                      <a:pt x="1026" y="365"/>
                    </a:cubicBezTo>
                    <a:cubicBezTo>
                      <a:pt x="1014" y="334"/>
                      <a:pt x="994" y="304"/>
                      <a:pt x="976" y="274"/>
                    </a:cubicBezTo>
                    <a:cubicBezTo>
                      <a:pt x="994" y="182"/>
                      <a:pt x="994" y="182"/>
                      <a:pt x="994" y="182"/>
                    </a:cubicBezTo>
                    <a:cubicBezTo>
                      <a:pt x="942" y="121"/>
                      <a:pt x="874" y="71"/>
                      <a:pt x="802" y="39"/>
                    </a:cubicBezTo>
                    <a:cubicBezTo>
                      <a:pt x="718" y="87"/>
                      <a:pt x="718" y="87"/>
                      <a:pt x="718" y="87"/>
                    </a:cubicBezTo>
                    <a:cubicBezTo>
                      <a:pt x="698" y="80"/>
                      <a:pt x="678" y="75"/>
                      <a:pt x="658" y="71"/>
                    </a:cubicBezTo>
                    <a:cubicBezTo>
                      <a:pt x="643" y="69"/>
                      <a:pt x="628" y="67"/>
                      <a:pt x="613" y="66"/>
                    </a:cubicBezTo>
                    <a:cubicBezTo>
                      <a:pt x="599" y="64"/>
                      <a:pt x="585" y="64"/>
                      <a:pt x="571" y="64"/>
                    </a:cubicBezTo>
                    <a:cubicBezTo>
                      <a:pt x="559" y="64"/>
                      <a:pt x="547" y="64"/>
                      <a:pt x="535" y="65"/>
                    </a:cubicBezTo>
                    <a:cubicBezTo>
                      <a:pt x="464" y="0"/>
                      <a:pt x="464" y="0"/>
                      <a:pt x="464" y="0"/>
                    </a:cubicBezTo>
                    <a:cubicBezTo>
                      <a:pt x="426" y="9"/>
                      <a:pt x="386" y="19"/>
                      <a:pt x="347" y="36"/>
                    </a:cubicBezTo>
                    <a:cubicBezTo>
                      <a:pt x="309" y="54"/>
                      <a:pt x="272" y="74"/>
                      <a:pt x="240" y="97"/>
                    </a:cubicBezTo>
                    <a:cubicBezTo>
                      <a:pt x="240" y="195"/>
                      <a:pt x="240" y="195"/>
                      <a:pt x="240" y="195"/>
                    </a:cubicBezTo>
                    <a:cubicBezTo>
                      <a:pt x="194" y="238"/>
                      <a:pt x="155" y="287"/>
                      <a:pt x="128" y="344"/>
                    </a:cubicBezTo>
                    <a:cubicBezTo>
                      <a:pt x="39" y="373"/>
                      <a:pt x="39" y="373"/>
                      <a:pt x="39" y="373"/>
                    </a:cubicBezTo>
                    <a:cubicBezTo>
                      <a:pt x="10" y="449"/>
                      <a:pt x="0" y="531"/>
                      <a:pt x="5" y="616"/>
                    </a:cubicBezTo>
                    <a:cubicBezTo>
                      <a:pt x="87" y="664"/>
                      <a:pt x="87" y="664"/>
                      <a:pt x="87" y="664"/>
                    </a:cubicBezTo>
                    <a:cubicBezTo>
                      <a:pt x="94" y="695"/>
                      <a:pt x="104" y="730"/>
                      <a:pt x="120" y="761"/>
                    </a:cubicBezTo>
                    <a:cubicBezTo>
                      <a:pt x="133" y="792"/>
                      <a:pt x="146" y="821"/>
                      <a:pt x="165" y="847"/>
                    </a:cubicBezTo>
                    <a:cubicBezTo>
                      <a:pt x="142" y="939"/>
                      <a:pt x="142" y="939"/>
                      <a:pt x="142" y="939"/>
                    </a:cubicBezTo>
                    <a:cubicBezTo>
                      <a:pt x="196" y="1003"/>
                      <a:pt x="259" y="1051"/>
                      <a:pt x="331" y="1086"/>
                    </a:cubicBezTo>
                    <a:cubicBezTo>
                      <a:pt x="411" y="1037"/>
                      <a:pt x="411" y="1037"/>
                      <a:pt x="411" y="1037"/>
                    </a:cubicBezTo>
                    <a:cubicBezTo>
                      <a:pt x="464" y="1055"/>
                      <a:pt x="519" y="1065"/>
                      <a:pt x="576" y="1065"/>
                    </a:cubicBezTo>
                    <a:cubicBezTo>
                      <a:pt x="589" y="1065"/>
                      <a:pt x="603" y="1064"/>
                      <a:pt x="616" y="1063"/>
                    </a:cubicBezTo>
                    <a:cubicBezTo>
                      <a:pt x="687" y="1129"/>
                      <a:pt x="687" y="1129"/>
                      <a:pt x="687" y="1129"/>
                    </a:cubicBezTo>
                    <a:cubicBezTo>
                      <a:pt x="722" y="1121"/>
                      <a:pt x="760" y="1109"/>
                      <a:pt x="797" y="1094"/>
                    </a:cubicBezTo>
                    <a:cubicBezTo>
                      <a:pt x="833" y="1076"/>
                      <a:pt x="867" y="1056"/>
                      <a:pt x="899" y="1034"/>
                    </a:cubicBezTo>
                    <a:cubicBezTo>
                      <a:pt x="899" y="939"/>
                      <a:pt x="899" y="939"/>
                      <a:pt x="899" y="939"/>
                    </a:cubicBezTo>
                    <a:cubicBezTo>
                      <a:pt x="952" y="891"/>
                      <a:pt x="993" y="834"/>
                      <a:pt x="1023" y="771"/>
                    </a:cubicBezTo>
                    <a:cubicBezTo>
                      <a:pt x="1111" y="743"/>
                      <a:pt x="1111" y="743"/>
                      <a:pt x="1111" y="743"/>
                    </a:cubicBezTo>
                    <a:cubicBezTo>
                      <a:pt x="1134" y="676"/>
                      <a:pt x="1143" y="604"/>
                      <a:pt x="1139" y="532"/>
                    </a:cubicBezTo>
                    <a:close/>
                    <a:moveTo>
                      <a:pt x="672" y="795"/>
                    </a:moveTo>
                    <a:cubicBezTo>
                      <a:pt x="640" y="810"/>
                      <a:pt x="606" y="817"/>
                      <a:pt x="573" y="817"/>
                    </a:cubicBezTo>
                    <a:cubicBezTo>
                      <a:pt x="477" y="817"/>
                      <a:pt x="386" y="759"/>
                      <a:pt x="346" y="664"/>
                    </a:cubicBezTo>
                    <a:cubicBezTo>
                      <a:pt x="291" y="536"/>
                      <a:pt x="349" y="389"/>
                      <a:pt x="474" y="335"/>
                    </a:cubicBezTo>
                    <a:cubicBezTo>
                      <a:pt x="505" y="321"/>
                      <a:pt x="538" y="315"/>
                      <a:pt x="570" y="314"/>
                    </a:cubicBezTo>
                    <a:cubicBezTo>
                      <a:pt x="667" y="314"/>
                      <a:pt x="760" y="370"/>
                      <a:pt x="799" y="465"/>
                    </a:cubicBezTo>
                    <a:cubicBezTo>
                      <a:pt x="854" y="592"/>
                      <a:pt x="797" y="742"/>
                      <a:pt x="672" y="7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98DA394-7BB9-4A64-B671-236E945DA526}"/>
              </a:ext>
            </a:extLst>
          </p:cNvPr>
          <p:cNvGrpSpPr>
            <a:grpSpLocks noChangeAspect="1"/>
          </p:cNvGrpSpPr>
          <p:nvPr/>
        </p:nvGrpSpPr>
        <p:grpSpPr>
          <a:xfrm>
            <a:off x="119007" y="2771781"/>
            <a:ext cx="818141" cy="818141"/>
            <a:chOff x="1113743" y="1826004"/>
            <a:chExt cx="1644650" cy="1644650"/>
          </a:xfrm>
        </p:grpSpPr>
        <p:sp>
          <p:nvSpPr>
            <p:cNvPr id="36" name="AutoShape 72">
              <a:extLst>
                <a:ext uri="{FF2B5EF4-FFF2-40B4-BE49-F238E27FC236}">
                  <a16:creationId xmlns:a16="http://schemas.microsoft.com/office/drawing/2014/main" id="{1F1F0D98-B189-406D-BBC5-CFF702CEC2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113743" y="1826004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357D2CF-5FC3-4913-8758-686C0D357117}"/>
                </a:ext>
              </a:extLst>
            </p:cNvPr>
            <p:cNvGrpSpPr/>
            <p:nvPr/>
          </p:nvGrpSpPr>
          <p:grpSpPr>
            <a:xfrm>
              <a:off x="1180418" y="2184779"/>
              <a:ext cx="1514475" cy="927100"/>
              <a:chOff x="1180418" y="2184779"/>
              <a:chExt cx="1514475" cy="927100"/>
            </a:xfrm>
          </p:grpSpPr>
          <p:sp>
            <p:nvSpPr>
              <p:cNvPr id="38" name="Freeform 74">
                <a:extLst>
                  <a:ext uri="{FF2B5EF4-FFF2-40B4-BE49-F238E27FC236}">
                    <a16:creationId xmlns:a16="http://schemas.microsoft.com/office/drawing/2014/main" id="{44D1AC7F-A3C8-48FE-8658-C8BF4211E2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80418" y="2184779"/>
                <a:ext cx="1514475" cy="927100"/>
              </a:xfrm>
              <a:custGeom>
                <a:avLst/>
                <a:gdLst>
                  <a:gd name="T0" fmla="*/ 2116 w 2121"/>
                  <a:gd name="T1" fmla="*/ 1135 h 1299"/>
                  <a:gd name="T2" fmla="*/ 2098 w 2121"/>
                  <a:gd name="T3" fmla="*/ 1126 h 1299"/>
                  <a:gd name="T4" fmla="*/ 1352 w 2121"/>
                  <a:gd name="T5" fmla="*/ 1126 h 1299"/>
                  <a:gd name="T6" fmla="*/ 1329 w 2121"/>
                  <a:gd name="T7" fmla="*/ 1148 h 1299"/>
                  <a:gd name="T8" fmla="*/ 1329 w 2121"/>
                  <a:gd name="T9" fmla="*/ 1164 h 1299"/>
                  <a:gd name="T10" fmla="*/ 791 w 2121"/>
                  <a:gd name="T11" fmla="*/ 1164 h 1299"/>
                  <a:gd name="T12" fmla="*/ 791 w 2121"/>
                  <a:gd name="T13" fmla="*/ 1148 h 1299"/>
                  <a:gd name="T14" fmla="*/ 769 w 2121"/>
                  <a:gd name="T15" fmla="*/ 1126 h 1299"/>
                  <a:gd name="T16" fmla="*/ 23 w 2121"/>
                  <a:gd name="T17" fmla="*/ 1126 h 1299"/>
                  <a:gd name="T18" fmla="*/ 5 w 2121"/>
                  <a:gd name="T19" fmla="*/ 1135 h 1299"/>
                  <a:gd name="T20" fmla="*/ 2 w 2121"/>
                  <a:gd name="T21" fmla="*/ 1155 h 1299"/>
                  <a:gd name="T22" fmla="*/ 42 w 2121"/>
                  <a:gd name="T23" fmla="*/ 1284 h 1299"/>
                  <a:gd name="T24" fmla="*/ 63 w 2121"/>
                  <a:gd name="T25" fmla="*/ 1299 h 1299"/>
                  <a:gd name="T26" fmla="*/ 2058 w 2121"/>
                  <a:gd name="T27" fmla="*/ 1299 h 1299"/>
                  <a:gd name="T28" fmla="*/ 2079 w 2121"/>
                  <a:gd name="T29" fmla="*/ 1284 h 1299"/>
                  <a:gd name="T30" fmla="*/ 2119 w 2121"/>
                  <a:gd name="T31" fmla="*/ 1155 h 1299"/>
                  <a:gd name="T32" fmla="*/ 2116 w 2121"/>
                  <a:gd name="T33" fmla="*/ 1135 h 1299"/>
                  <a:gd name="T34" fmla="*/ 2042 w 2121"/>
                  <a:gd name="T35" fmla="*/ 1255 h 1299"/>
                  <a:gd name="T36" fmla="*/ 79 w 2121"/>
                  <a:gd name="T37" fmla="*/ 1255 h 1299"/>
                  <a:gd name="T38" fmla="*/ 53 w 2121"/>
                  <a:gd name="T39" fmla="*/ 1170 h 1299"/>
                  <a:gd name="T40" fmla="*/ 747 w 2121"/>
                  <a:gd name="T41" fmla="*/ 1170 h 1299"/>
                  <a:gd name="T42" fmla="*/ 747 w 2121"/>
                  <a:gd name="T43" fmla="*/ 1186 h 1299"/>
                  <a:gd name="T44" fmla="*/ 769 w 2121"/>
                  <a:gd name="T45" fmla="*/ 1208 h 1299"/>
                  <a:gd name="T46" fmla="*/ 1352 w 2121"/>
                  <a:gd name="T47" fmla="*/ 1208 h 1299"/>
                  <a:gd name="T48" fmla="*/ 1374 w 2121"/>
                  <a:gd name="T49" fmla="*/ 1186 h 1299"/>
                  <a:gd name="T50" fmla="*/ 1374 w 2121"/>
                  <a:gd name="T51" fmla="*/ 1170 h 1299"/>
                  <a:gd name="T52" fmla="*/ 2068 w 2121"/>
                  <a:gd name="T53" fmla="*/ 1170 h 1299"/>
                  <a:gd name="T54" fmla="*/ 2042 w 2121"/>
                  <a:gd name="T55" fmla="*/ 1255 h 1299"/>
                  <a:gd name="T56" fmla="*/ 164 w 2121"/>
                  <a:gd name="T57" fmla="*/ 1082 h 1299"/>
                  <a:gd name="T58" fmla="*/ 1957 w 2121"/>
                  <a:gd name="T59" fmla="*/ 1082 h 1299"/>
                  <a:gd name="T60" fmla="*/ 1979 w 2121"/>
                  <a:gd name="T61" fmla="*/ 1060 h 1299"/>
                  <a:gd name="T62" fmla="*/ 1979 w 2121"/>
                  <a:gd name="T63" fmla="*/ 22 h 1299"/>
                  <a:gd name="T64" fmla="*/ 1957 w 2121"/>
                  <a:gd name="T65" fmla="*/ 0 h 1299"/>
                  <a:gd name="T66" fmla="*/ 164 w 2121"/>
                  <a:gd name="T67" fmla="*/ 0 h 1299"/>
                  <a:gd name="T68" fmla="*/ 142 w 2121"/>
                  <a:gd name="T69" fmla="*/ 22 h 1299"/>
                  <a:gd name="T70" fmla="*/ 142 w 2121"/>
                  <a:gd name="T71" fmla="*/ 1060 h 1299"/>
                  <a:gd name="T72" fmla="*/ 164 w 2121"/>
                  <a:gd name="T73" fmla="*/ 1082 h 1299"/>
                  <a:gd name="T74" fmla="*/ 186 w 2121"/>
                  <a:gd name="T75" fmla="*/ 44 h 1299"/>
                  <a:gd name="T76" fmla="*/ 1935 w 2121"/>
                  <a:gd name="T77" fmla="*/ 44 h 1299"/>
                  <a:gd name="T78" fmla="*/ 1935 w 2121"/>
                  <a:gd name="T79" fmla="*/ 1038 h 1299"/>
                  <a:gd name="T80" fmla="*/ 186 w 2121"/>
                  <a:gd name="T81" fmla="*/ 1038 h 1299"/>
                  <a:gd name="T82" fmla="*/ 186 w 2121"/>
                  <a:gd name="T83" fmla="*/ 44 h 1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121" h="1299">
                    <a:moveTo>
                      <a:pt x="2116" y="1135"/>
                    </a:moveTo>
                    <a:cubicBezTo>
                      <a:pt x="2112" y="1130"/>
                      <a:pt x="2105" y="1126"/>
                      <a:pt x="2098" y="1126"/>
                    </a:cubicBezTo>
                    <a:cubicBezTo>
                      <a:pt x="2098" y="1126"/>
                      <a:pt x="2098" y="1126"/>
                      <a:pt x="1352" y="1126"/>
                    </a:cubicBezTo>
                    <a:cubicBezTo>
                      <a:pt x="1339" y="1126"/>
                      <a:pt x="1329" y="1136"/>
                      <a:pt x="1329" y="1148"/>
                    </a:cubicBezTo>
                    <a:cubicBezTo>
                      <a:pt x="1329" y="1148"/>
                      <a:pt x="1329" y="1148"/>
                      <a:pt x="1329" y="1164"/>
                    </a:cubicBezTo>
                    <a:cubicBezTo>
                      <a:pt x="1329" y="1164"/>
                      <a:pt x="1329" y="1164"/>
                      <a:pt x="791" y="1164"/>
                    </a:cubicBezTo>
                    <a:cubicBezTo>
                      <a:pt x="791" y="1164"/>
                      <a:pt x="791" y="1164"/>
                      <a:pt x="791" y="1148"/>
                    </a:cubicBezTo>
                    <a:cubicBezTo>
                      <a:pt x="791" y="1136"/>
                      <a:pt x="781" y="1126"/>
                      <a:pt x="769" y="1126"/>
                    </a:cubicBezTo>
                    <a:cubicBezTo>
                      <a:pt x="769" y="1126"/>
                      <a:pt x="769" y="1126"/>
                      <a:pt x="23" y="1126"/>
                    </a:cubicBezTo>
                    <a:cubicBezTo>
                      <a:pt x="16" y="1126"/>
                      <a:pt x="9" y="1130"/>
                      <a:pt x="5" y="1135"/>
                    </a:cubicBezTo>
                    <a:cubicBezTo>
                      <a:pt x="1" y="1141"/>
                      <a:pt x="0" y="1148"/>
                      <a:pt x="2" y="1155"/>
                    </a:cubicBezTo>
                    <a:cubicBezTo>
                      <a:pt x="2" y="1155"/>
                      <a:pt x="2" y="1155"/>
                      <a:pt x="42" y="1284"/>
                    </a:cubicBezTo>
                    <a:cubicBezTo>
                      <a:pt x="45" y="1293"/>
                      <a:pt x="53" y="1299"/>
                      <a:pt x="63" y="1299"/>
                    </a:cubicBezTo>
                    <a:cubicBezTo>
                      <a:pt x="63" y="1299"/>
                      <a:pt x="63" y="1299"/>
                      <a:pt x="2058" y="1299"/>
                    </a:cubicBezTo>
                    <a:cubicBezTo>
                      <a:pt x="2068" y="1299"/>
                      <a:pt x="2076" y="1293"/>
                      <a:pt x="2079" y="1284"/>
                    </a:cubicBezTo>
                    <a:cubicBezTo>
                      <a:pt x="2079" y="1284"/>
                      <a:pt x="2079" y="1284"/>
                      <a:pt x="2119" y="1155"/>
                    </a:cubicBezTo>
                    <a:cubicBezTo>
                      <a:pt x="2121" y="1148"/>
                      <a:pt x="2120" y="1141"/>
                      <a:pt x="2116" y="1135"/>
                    </a:cubicBezTo>
                    <a:close/>
                    <a:moveTo>
                      <a:pt x="2042" y="1255"/>
                    </a:moveTo>
                    <a:cubicBezTo>
                      <a:pt x="2042" y="1255"/>
                      <a:pt x="2042" y="1255"/>
                      <a:pt x="79" y="1255"/>
                    </a:cubicBezTo>
                    <a:cubicBezTo>
                      <a:pt x="53" y="1170"/>
                      <a:pt x="53" y="1170"/>
                      <a:pt x="53" y="1170"/>
                    </a:cubicBezTo>
                    <a:cubicBezTo>
                      <a:pt x="53" y="1170"/>
                      <a:pt x="53" y="1170"/>
                      <a:pt x="747" y="1170"/>
                    </a:cubicBezTo>
                    <a:cubicBezTo>
                      <a:pt x="747" y="1170"/>
                      <a:pt x="747" y="1170"/>
                      <a:pt x="747" y="1186"/>
                    </a:cubicBezTo>
                    <a:cubicBezTo>
                      <a:pt x="747" y="1198"/>
                      <a:pt x="757" y="1208"/>
                      <a:pt x="769" y="1208"/>
                    </a:cubicBezTo>
                    <a:cubicBezTo>
                      <a:pt x="769" y="1208"/>
                      <a:pt x="769" y="1208"/>
                      <a:pt x="1352" y="1208"/>
                    </a:cubicBezTo>
                    <a:cubicBezTo>
                      <a:pt x="1364" y="1208"/>
                      <a:pt x="1374" y="1198"/>
                      <a:pt x="1374" y="1186"/>
                    </a:cubicBezTo>
                    <a:cubicBezTo>
                      <a:pt x="1374" y="1186"/>
                      <a:pt x="1374" y="1186"/>
                      <a:pt x="1374" y="1170"/>
                    </a:cubicBezTo>
                    <a:cubicBezTo>
                      <a:pt x="1374" y="1170"/>
                      <a:pt x="1374" y="1170"/>
                      <a:pt x="2068" y="1170"/>
                    </a:cubicBezTo>
                    <a:cubicBezTo>
                      <a:pt x="2068" y="1170"/>
                      <a:pt x="2068" y="1170"/>
                      <a:pt x="2042" y="1255"/>
                    </a:cubicBezTo>
                    <a:close/>
                    <a:moveTo>
                      <a:pt x="164" y="1082"/>
                    </a:moveTo>
                    <a:cubicBezTo>
                      <a:pt x="164" y="1082"/>
                      <a:pt x="164" y="1082"/>
                      <a:pt x="1957" y="1082"/>
                    </a:cubicBezTo>
                    <a:cubicBezTo>
                      <a:pt x="1969" y="1082"/>
                      <a:pt x="1979" y="1072"/>
                      <a:pt x="1979" y="1060"/>
                    </a:cubicBezTo>
                    <a:cubicBezTo>
                      <a:pt x="1979" y="1060"/>
                      <a:pt x="1979" y="1060"/>
                      <a:pt x="1979" y="22"/>
                    </a:cubicBezTo>
                    <a:cubicBezTo>
                      <a:pt x="1979" y="10"/>
                      <a:pt x="1969" y="0"/>
                      <a:pt x="1957" y="0"/>
                    </a:cubicBezTo>
                    <a:cubicBezTo>
                      <a:pt x="1957" y="0"/>
                      <a:pt x="1957" y="0"/>
                      <a:pt x="164" y="0"/>
                    </a:cubicBezTo>
                    <a:cubicBezTo>
                      <a:pt x="152" y="0"/>
                      <a:pt x="142" y="10"/>
                      <a:pt x="142" y="22"/>
                    </a:cubicBezTo>
                    <a:cubicBezTo>
                      <a:pt x="142" y="22"/>
                      <a:pt x="142" y="22"/>
                      <a:pt x="142" y="1060"/>
                    </a:cubicBezTo>
                    <a:cubicBezTo>
                      <a:pt x="142" y="1072"/>
                      <a:pt x="152" y="1082"/>
                      <a:pt x="164" y="1082"/>
                    </a:cubicBezTo>
                    <a:close/>
                    <a:moveTo>
                      <a:pt x="186" y="44"/>
                    </a:moveTo>
                    <a:cubicBezTo>
                      <a:pt x="186" y="44"/>
                      <a:pt x="186" y="44"/>
                      <a:pt x="1935" y="44"/>
                    </a:cubicBezTo>
                    <a:cubicBezTo>
                      <a:pt x="1935" y="44"/>
                      <a:pt x="1935" y="44"/>
                      <a:pt x="1935" y="1038"/>
                    </a:cubicBezTo>
                    <a:cubicBezTo>
                      <a:pt x="1935" y="1038"/>
                      <a:pt x="1935" y="1038"/>
                      <a:pt x="186" y="1038"/>
                    </a:cubicBezTo>
                    <a:lnTo>
                      <a:pt x="186" y="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75">
                <a:extLst>
                  <a:ext uri="{FF2B5EF4-FFF2-40B4-BE49-F238E27FC236}">
                    <a16:creationId xmlns:a16="http://schemas.microsoft.com/office/drawing/2014/main" id="{353F66D6-75AD-4354-98FB-1A754A4214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45518" y="2245104"/>
                <a:ext cx="1182688" cy="649288"/>
              </a:xfrm>
              <a:custGeom>
                <a:avLst/>
                <a:gdLst>
                  <a:gd name="T0" fmla="*/ 1647 w 1657"/>
                  <a:gd name="T1" fmla="*/ 0 h 909"/>
                  <a:gd name="T2" fmla="*/ 10 w 1657"/>
                  <a:gd name="T3" fmla="*/ 0 h 909"/>
                  <a:gd name="T4" fmla="*/ 0 w 1657"/>
                  <a:gd name="T5" fmla="*/ 10 h 909"/>
                  <a:gd name="T6" fmla="*/ 0 w 1657"/>
                  <a:gd name="T7" fmla="*/ 899 h 909"/>
                  <a:gd name="T8" fmla="*/ 10 w 1657"/>
                  <a:gd name="T9" fmla="*/ 909 h 909"/>
                  <a:gd name="T10" fmla="*/ 1647 w 1657"/>
                  <a:gd name="T11" fmla="*/ 909 h 909"/>
                  <a:gd name="T12" fmla="*/ 1657 w 1657"/>
                  <a:gd name="T13" fmla="*/ 899 h 909"/>
                  <a:gd name="T14" fmla="*/ 1657 w 1657"/>
                  <a:gd name="T15" fmla="*/ 10 h 909"/>
                  <a:gd name="T16" fmla="*/ 1647 w 1657"/>
                  <a:gd name="T17" fmla="*/ 0 h 909"/>
                  <a:gd name="T18" fmla="*/ 623 w 1657"/>
                  <a:gd name="T19" fmla="*/ 678 h 909"/>
                  <a:gd name="T20" fmla="*/ 608 w 1657"/>
                  <a:gd name="T21" fmla="*/ 684 h 909"/>
                  <a:gd name="T22" fmla="*/ 592 w 1657"/>
                  <a:gd name="T23" fmla="*/ 678 h 909"/>
                  <a:gd name="T24" fmla="*/ 413 w 1657"/>
                  <a:gd name="T25" fmla="*/ 498 h 909"/>
                  <a:gd name="T26" fmla="*/ 411 w 1657"/>
                  <a:gd name="T27" fmla="*/ 496 h 909"/>
                  <a:gd name="T28" fmla="*/ 405 w 1657"/>
                  <a:gd name="T29" fmla="*/ 481 h 909"/>
                  <a:gd name="T30" fmla="*/ 411 w 1657"/>
                  <a:gd name="T31" fmla="*/ 465 h 909"/>
                  <a:gd name="T32" fmla="*/ 413 w 1657"/>
                  <a:gd name="T33" fmla="*/ 463 h 909"/>
                  <a:gd name="T34" fmla="*/ 678 w 1657"/>
                  <a:gd name="T35" fmla="*/ 197 h 909"/>
                  <a:gd name="T36" fmla="*/ 709 w 1657"/>
                  <a:gd name="T37" fmla="*/ 197 h 909"/>
                  <a:gd name="T38" fmla="*/ 709 w 1657"/>
                  <a:gd name="T39" fmla="*/ 228 h 909"/>
                  <a:gd name="T40" fmla="*/ 458 w 1657"/>
                  <a:gd name="T41" fmla="*/ 481 h 909"/>
                  <a:gd name="T42" fmla="*/ 623 w 1657"/>
                  <a:gd name="T43" fmla="*/ 646 h 909"/>
                  <a:gd name="T44" fmla="*/ 623 w 1657"/>
                  <a:gd name="T45" fmla="*/ 678 h 909"/>
                  <a:gd name="T46" fmla="*/ 671 w 1657"/>
                  <a:gd name="T47" fmla="*/ 797 h 909"/>
                  <a:gd name="T48" fmla="*/ 661 w 1657"/>
                  <a:gd name="T49" fmla="*/ 795 h 909"/>
                  <a:gd name="T50" fmla="*/ 651 w 1657"/>
                  <a:gd name="T51" fmla="*/ 765 h 909"/>
                  <a:gd name="T52" fmla="*/ 985 w 1657"/>
                  <a:gd name="T53" fmla="*/ 124 h 909"/>
                  <a:gd name="T54" fmla="*/ 1015 w 1657"/>
                  <a:gd name="T55" fmla="*/ 115 h 909"/>
                  <a:gd name="T56" fmla="*/ 1024 w 1657"/>
                  <a:gd name="T57" fmla="*/ 145 h 909"/>
                  <a:gd name="T58" fmla="*/ 690 w 1657"/>
                  <a:gd name="T59" fmla="*/ 785 h 909"/>
                  <a:gd name="T60" fmla="*/ 671 w 1657"/>
                  <a:gd name="T61" fmla="*/ 797 h 909"/>
                  <a:gd name="T62" fmla="*/ 1245 w 1657"/>
                  <a:gd name="T63" fmla="*/ 496 h 909"/>
                  <a:gd name="T64" fmla="*/ 1243 w 1657"/>
                  <a:gd name="T65" fmla="*/ 497 h 909"/>
                  <a:gd name="T66" fmla="*/ 977 w 1657"/>
                  <a:gd name="T67" fmla="*/ 764 h 909"/>
                  <a:gd name="T68" fmla="*/ 962 w 1657"/>
                  <a:gd name="T69" fmla="*/ 771 h 909"/>
                  <a:gd name="T70" fmla="*/ 947 w 1657"/>
                  <a:gd name="T71" fmla="*/ 764 h 909"/>
                  <a:gd name="T72" fmla="*/ 947 w 1657"/>
                  <a:gd name="T73" fmla="*/ 733 h 909"/>
                  <a:gd name="T74" fmla="*/ 1198 w 1657"/>
                  <a:gd name="T75" fmla="*/ 480 h 909"/>
                  <a:gd name="T76" fmla="*/ 1033 w 1657"/>
                  <a:gd name="T77" fmla="*/ 315 h 909"/>
                  <a:gd name="T78" fmla="*/ 1033 w 1657"/>
                  <a:gd name="T79" fmla="*/ 284 h 909"/>
                  <a:gd name="T80" fmla="*/ 1064 w 1657"/>
                  <a:gd name="T81" fmla="*/ 284 h 909"/>
                  <a:gd name="T82" fmla="*/ 1243 w 1657"/>
                  <a:gd name="T83" fmla="*/ 462 h 909"/>
                  <a:gd name="T84" fmla="*/ 1245 w 1657"/>
                  <a:gd name="T85" fmla="*/ 464 h 909"/>
                  <a:gd name="T86" fmla="*/ 1252 w 1657"/>
                  <a:gd name="T87" fmla="*/ 480 h 909"/>
                  <a:gd name="T88" fmla="*/ 1245 w 1657"/>
                  <a:gd name="T89" fmla="*/ 496 h 9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57" h="909">
                    <a:moveTo>
                      <a:pt x="1647" y="0"/>
                    </a:moveTo>
                    <a:cubicBezTo>
                      <a:pt x="1647" y="0"/>
                      <a:pt x="1647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10"/>
                      <a:pt x="0" y="10"/>
                      <a:pt x="0" y="899"/>
                    </a:cubicBezTo>
                    <a:cubicBezTo>
                      <a:pt x="0" y="905"/>
                      <a:pt x="5" y="909"/>
                      <a:pt x="10" y="909"/>
                    </a:cubicBezTo>
                    <a:cubicBezTo>
                      <a:pt x="10" y="909"/>
                      <a:pt x="10" y="909"/>
                      <a:pt x="1647" y="909"/>
                    </a:cubicBezTo>
                    <a:cubicBezTo>
                      <a:pt x="1652" y="909"/>
                      <a:pt x="1657" y="905"/>
                      <a:pt x="1657" y="899"/>
                    </a:cubicBezTo>
                    <a:cubicBezTo>
                      <a:pt x="1657" y="899"/>
                      <a:pt x="1657" y="899"/>
                      <a:pt x="1657" y="10"/>
                    </a:cubicBezTo>
                    <a:cubicBezTo>
                      <a:pt x="1657" y="5"/>
                      <a:pt x="1652" y="0"/>
                      <a:pt x="1647" y="0"/>
                    </a:cubicBezTo>
                    <a:close/>
                    <a:moveTo>
                      <a:pt x="623" y="678"/>
                    </a:moveTo>
                    <a:cubicBezTo>
                      <a:pt x="619" y="682"/>
                      <a:pt x="613" y="684"/>
                      <a:pt x="608" y="684"/>
                    </a:cubicBezTo>
                    <a:cubicBezTo>
                      <a:pt x="602" y="684"/>
                      <a:pt x="597" y="682"/>
                      <a:pt x="592" y="678"/>
                    </a:cubicBezTo>
                    <a:cubicBezTo>
                      <a:pt x="413" y="498"/>
                      <a:pt x="413" y="498"/>
                      <a:pt x="413" y="498"/>
                    </a:cubicBezTo>
                    <a:cubicBezTo>
                      <a:pt x="413" y="497"/>
                      <a:pt x="412" y="497"/>
                      <a:pt x="411" y="496"/>
                    </a:cubicBezTo>
                    <a:cubicBezTo>
                      <a:pt x="407" y="492"/>
                      <a:pt x="405" y="486"/>
                      <a:pt x="405" y="481"/>
                    </a:cubicBezTo>
                    <a:cubicBezTo>
                      <a:pt x="405" y="475"/>
                      <a:pt x="407" y="469"/>
                      <a:pt x="411" y="465"/>
                    </a:cubicBezTo>
                    <a:cubicBezTo>
                      <a:pt x="412" y="464"/>
                      <a:pt x="413" y="464"/>
                      <a:pt x="413" y="463"/>
                    </a:cubicBezTo>
                    <a:cubicBezTo>
                      <a:pt x="678" y="197"/>
                      <a:pt x="678" y="197"/>
                      <a:pt x="678" y="197"/>
                    </a:cubicBezTo>
                    <a:cubicBezTo>
                      <a:pt x="687" y="189"/>
                      <a:pt x="701" y="189"/>
                      <a:pt x="709" y="197"/>
                    </a:cubicBezTo>
                    <a:cubicBezTo>
                      <a:pt x="718" y="206"/>
                      <a:pt x="718" y="220"/>
                      <a:pt x="709" y="228"/>
                    </a:cubicBezTo>
                    <a:cubicBezTo>
                      <a:pt x="458" y="481"/>
                      <a:pt x="458" y="481"/>
                      <a:pt x="458" y="481"/>
                    </a:cubicBezTo>
                    <a:cubicBezTo>
                      <a:pt x="623" y="646"/>
                      <a:pt x="623" y="646"/>
                      <a:pt x="623" y="646"/>
                    </a:cubicBezTo>
                    <a:cubicBezTo>
                      <a:pt x="632" y="654"/>
                      <a:pt x="632" y="669"/>
                      <a:pt x="623" y="678"/>
                    </a:cubicBezTo>
                    <a:close/>
                    <a:moveTo>
                      <a:pt x="671" y="797"/>
                    </a:moveTo>
                    <a:cubicBezTo>
                      <a:pt x="667" y="797"/>
                      <a:pt x="664" y="796"/>
                      <a:pt x="661" y="795"/>
                    </a:cubicBezTo>
                    <a:cubicBezTo>
                      <a:pt x="650" y="789"/>
                      <a:pt x="646" y="776"/>
                      <a:pt x="651" y="765"/>
                    </a:cubicBezTo>
                    <a:cubicBezTo>
                      <a:pt x="985" y="124"/>
                      <a:pt x="985" y="124"/>
                      <a:pt x="985" y="124"/>
                    </a:cubicBezTo>
                    <a:cubicBezTo>
                      <a:pt x="991" y="114"/>
                      <a:pt x="1004" y="110"/>
                      <a:pt x="1015" y="115"/>
                    </a:cubicBezTo>
                    <a:cubicBezTo>
                      <a:pt x="1026" y="121"/>
                      <a:pt x="1030" y="134"/>
                      <a:pt x="1024" y="145"/>
                    </a:cubicBezTo>
                    <a:cubicBezTo>
                      <a:pt x="690" y="785"/>
                      <a:pt x="690" y="785"/>
                      <a:pt x="690" y="785"/>
                    </a:cubicBezTo>
                    <a:cubicBezTo>
                      <a:pt x="686" y="793"/>
                      <a:pt x="679" y="797"/>
                      <a:pt x="671" y="797"/>
                    </a:cubicBezTo>
                    <a:close/>
                    <a:moveTo>
                      <a:pt x="1245" y="496"/>
                    </a:moveTo>
                    <a:cubicBezTo>
                      <a:pt x="1245" y="496"/>
                      <a:pt x="1244" y="497"/>
                      <a:pt x="1243" y="497"/>
                    </a:cubicBezTo>
                    <a:cubicBezTo>
                      <a:pt x="977" y="764"/>
                      <a:pt x="977" y="764"/>
                      <a:pt x="977" y="764"/>
                    </a:cubicBezTo>
                    <a:cubicBezTo>
                      <a:pt x="973" y="768"/>
                      <a:pt x="967" y="771"/>
                      <a:pt x="962" y="771"/>
                    </a:cubicBezTo>
                    <a:cubicBezTo>
                      <a:pt x="956" y="771"/>
                      <a:pt x="950" y="768"/>
                      <a:pt x="947" y="764"/>
                    </a:cubicBezTo>
                    <a:cubicBezTo>
                      <a:pt x="939" y="756"/>
                      <a:pt x="939" y="742"/>
                      <a:pt x="947" y="733"/>
                    </a:cubicBezTo>
                    <a:cubicBezTo>
                      <a:pt x="1198" y="480"/>
                      <a:pt x="1198" y="480"/>
                      <a:pt x="1198" y="480"/>
                    </a:cubicBezTo>
                    <a:cubicBezTo>
                      <a:pt x="1033" y="315"/>
                      <a:pt x="1033" y="315"/>
                      <a:pt x="1033" y="315"/>
                    </a:cubicBezTo>
                    <a:cubicBezTo>
                      <a:pt x="1025" y="306"/>
                      <a:pt x="1025" y="292"/>
                      <a:pt x="1033" y="284"/>
                    </a:cubicBezTo>
                    <a:cubicBezTo>
                      <a:pt x="1042" y="275"/>
                      <a:pt x="1056" y="275"/>
                      <a:pt x="1064" y="284"/>
                    </a:cubicBezTo>
                    <a:cubicBezTo>
                      <a:pt x="1243" y="462"/>
                      <a:pt x="1243" y="462"/>
                      <a:pt x="1243" y="462"/>
                    </a:cubicBezTo>
                    <a:cubicBezTo>
                      <a:pt x="1244" y="463"/>
                      <a:pt x="1245" y="463"/>
                      <a:pt x="1245" y="464"/>
                    </a:cubicBezTo>
                    <a:cubicBezTo>
                      <a:pt x="1250" y="468"/>
                      <a:pt x="1252" y="474"/>
                      <a:pt x="1252" y="480"/>
                    </a:cubicBezTo>
                    <a:cubicBezTo>
                      <a:pt x="1252" y="486"/>
                      <a:pt x="1250" y="491"/>
                      <a:pt x="1245" y="49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0" name="Inhaltsplatzhalter 5">
            <a:extLst>
              <a:ext uri="{FF2B5EF4-FFF2-40B4-BE49-F238E27FC236}">
                <a16:creationId xmlns:a16="http://schemas.microsoft.com/office/drawing/2014/main" id="{F10B800B-7BDD-437C-BD95-BADA97344C22}"/>
              </a:ext>
            </a:extLst>
          </p:cNvPr>
          <p:cNvSpPr txBox="1">
            <a:spLocks/>
          </p:cNvSpPr>
          <p:nvPr/>
        </p:nvSpPr>
        <p:spPr>
          <a:xfrm>
            <a:off x="1114219" y="2381685"/>
            <a:ext cx="8508999" cy="2894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/>
              <a:t>Organizational tools and setup (teamwork, time plan, communication)</a:t>
            </a:r>
          </a:p>
        </p:txBody>
      </p:sp>
      <p:sp>
        <p:nvSpPr>
          <p:cNvPr id="41" name="Inhaltsplatzhalter 5">
            <a:extLst>
              <a:ext uri="{FF2B5EF4-FFF2-40B4-BE49-F238E27FC236}">
                <a16:creationId xmlns:a16="http://schemas.microsoft.com/office/drawing/2014/main" id="{0955CCD9-F60B-41E8-A854-4D9A8F7A333F}"/>
              </a:ext>
            </a:extLst>
          </p:cNvPr>
          <p:cNvSpPr txBox="1">
            <a:spLocks/>
          </p:cNvSpPr>
          <p:nvPr/>
        </p:nvSpPr>
        <p:spPr>
          <a:xfrm>
            <a:off x="1114219" y="3036132"/>
            <a:ext cx="8508999" cy="2894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/>
              <a:t>Software tools and setup</a:t>
            </a:r>
          </a:p>
        </p:txBody>
      </p:sp>
    </p:spTree>
    <p:extLst>
      <p:ext uri="{BB962C8B-B14F-4D97-AF65-F5344CB8AC3E}">
        <p14:creationId xmlns:p14="http://schemas.microsoft.com/office/powerpoint/2010/main" val="1394832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1DA98B-76FE-4AED-A692-787C67DEC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345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91DA98B-76FE-4AED-A692-787C67DEC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/>
              <a:t>Thank you for your attention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person with long hair&#10;&#10;Description automatically generated with low confidence">
            <a:extLst>
              <a:ext uri="{FF2B5EF4-FFF2-40B4-BE49-F238E27FC236}">
                <a16:creationId xmlns:a16="http://schemas.microsoft.com/office/drawing/2014/main" id="{9E0669F9-8FD0-4442-8F01-BFEBF3547D7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7397" t="5799" r="42604" b="49267"/>
          <a:stretch/>
        </p:blipFill>
        <p:spPr>
          <a:xfrm>
            <a:off x="4087188" y="2665268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1" name="Picture 10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2D5B9AD0-A375-4D13-8DF1-717E0E3CFFE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0995" t="190" r="12061" b="41726"/>
          <a:stretch/>
        </p:blipFill>
        <p:spPr>
          <a:xfrm>
            <a:off x="7332139" y="1554703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2" name="Picture 11" descr="A person sitting on a bench&#10;&#10;Description automatically generated">
            <a:extLst>
              <a:ext uri="{FF2B5EF4-FFF2-40B4-BE49-F238E27FC236}">
                <a16:creationId xmlns:a16="http://schemas.microsoft.com/office/drawing/2014/main" id="{E330C1A6-0223-48CC-8019-030CC0CA9FA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547" t="9233" r="48569" b="51209"/>
          <a:stretch/>
        </p:blipFill>
        <p:spPr>
          <a:xfrm>
            <a:off x="4087188" y="1554703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3" name="Picture 12" descr="A picture containing person, wall, clothing, person&#10;&#10;Description automatically generated">
            <a:extLst>
              <a:ext uri="{FF2B5EF4-FFF2-40B4-BE49-F238E27FC236}">
                <a16:creationId xmlns:a16="http://schemas.microsoft.com/office/drawing/2014/main" id="{A07E80A9-F3B7-4593-9841-1122324C9AD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-789" t="-74" r="789" b="33374"/>
          <a:stretch/>
        </p:blipFill>
        <p:spPr>
          <a:xfrm>
            <a:off x="2917183" y="2077034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4" name="Picture 13" descr="A close-up of a person smiling&#10;&#10;Description automatically generated">
            <a:extLst>
              <a:ext uri="{FF2B5EF4-FFF2-40B4-BE49-F238E27FC236}">
                <a16:creationId xmlns:a16="http://schemas.microsoft.com/office/drawing/2014/main" id="{41ADF7C5-9E5D-4B3A-A444-661E32B3B71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5505" b="19495"/>
          <a:stretch/>
        </p:blipFill>
        <p:spPr>
          <a:xfrm>
            <a:off x="5097538" y="2077034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5" name="Picture 14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FFBFB66C-BF7F-4C3E-86CB-847E722A3D96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2500" b="12500"/>
          <a:stretch/>
        </p:blipFill>
        <p:spPr>
          <a:xfrm>
            <a:off x="1815647" y="2077034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6" name="Picture 15" descr="A person with his arms crossed&#10;&#10;Description automatically generated with medium confidence">
            <a:extLst>
              <a:ext uri="{FF2B5EF4-FFF2-40B4-BE49-F238E27FC236}">
                <a16:creationId xmlns:a16="http://schemas.microsoft.com/office/drawing/2014/main" id="{2B9FE083-5BC8-43F0-8C60-74A44A129A3A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-684" t="7347" r="684" b="25841"/>
          <a:stretch/>
        </p:blipFill>
        <p:spPr>
          <a:xfrm>
            <a:off x="792809" y="2632316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7" name="Picture 16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18D8A3DF-3530-4D64-8032-647FD97ECE23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85" t="15393" r="-185" b="17573"/>
          <a:stretch/>
        </p:blipFill>
        <p:spPr>
          <a:xfrm>
            <a:off x="6215274" y="2077034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8" name="Picture 17" descr="A person with a beard&#10;&#10;Description automatically generated with low confidence">
            <a:extLst>
              <a:ext uri="{FF2B5EF4-FFF2-40B4-BE49-F238E27FC236}">
                <a16:creationId xmlns:a16="http://schemas.microsoft.com/office/drawing/2014/main" id="{6F243F61-8FC4-4629-89AB-C91CFEC0B82D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4305" r="4305"/>
          <a:stretch/>
        </p:blipFill>
        <p:spPr>
          <a:xfrm>
            <a:off x="792809" y="1521751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9" name="Picture 18" descr="A picture containing person, clothing&#10;&#10;Description automatically generated">
            <a:extLst>
              <a:ext uri="{FF2B5EF4-FFF2-40B4-BE49-F238E27FC236}">
                <a16:creationId xmlns:a16="http://schemas.microsoft.com/office/drawing/2014/main" id="{78E9C490-0D17-4475-8975-8D8CBD38C69C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265" t="-196" r="-265" b="29590"/>
          <a:stretch/>
        </p:blipFill>
        <p:spPr>
          <a:xfrm>
            <a:off x="7332139" y="2665268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</p:spTree>
    <p:extLst>
      <p:ext uri="{BB962C8B-B14F-4D97-AF65-F5344CB8AC3E}">
        <p14:creationId xmlns:p14="http://schemas.microsoft.com/office/powerpoint/2010/main" val="298469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D1C07E5-F7A8-484D-BC32-11919E93C8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744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D1C07E5-F7A8-484D-BC32-11919E93C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7" y="282065"/>
            <a:ext cx="7891317" cy="380810"/>
          </a:xfrm>
        </p:spPr>
        <p:txBody>
          <a:bodyPr vert="horz"/>
          <a:lstStyle/>
          <a:p>
            <a:r>
              <a:rPr lang="de-DE"/>
              <a:t>Our team will drive the project with its diverse skill se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NavigationTriangle">
            <a:extLst>
              <a:ext uri="{FF2B5EF4-FFF2-40B4-BE49-F238E27FC236}">
                <a16:creationId xmlns:a16="http://schemas.microsoft.com/office/drawing/2014/main" id="{F505827C-21C6-4D94-84AB-B73E19104A78}"/>
              </a:ext>
            </a:extLst>
          </p:cNvPr>
          <p:cNvSpPr/>
          <p:nvPr/>
        </p:nvSpPr>
        <p:spPr>
          <a:xfrm rot="16200000">
            <a:off x="8068166" y="-2267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pic>
        <p:nvPicPr>
          <p:cNvPr id="6" name="Picture 5" descr="A person with long hair&#10;&#10;Description automatically generated with low confidence">
            <a:extLst>
              <a:ext uri="{FF2B5EF4-FFF2-40B4-BE49-F238E27FC236}">
                <a16:creationId xmlns:a16="http://schemas.microsoft.com/office/drawing/2014/main" id="{7FCBC6C9-9C4C-4468-B5A4-EF09E3CAC40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7397" t="5799" r="42604" b="49267"/>
          <a:stretch/>
        </p:blipFill>
        <p:spPr>
          <a:xfrm>
            <a:off x="4087188" y="2335751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1" name="Picture 10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DF2F77E7-F13F-4746-BF31-8340295CF3D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0995" t="190" r="12061" b="41726"/>
          <a:stretch/>
        </p:blipFill>
        <p:spPr>
          <a:xfrm>
            <a:off x="7332139" y="1225186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3" name="Picture 12" descr="A person sitting on a bench&#10;&#10;Description automatically generated">
            <a:extLst>
              <a:ext uri="{FF2B5EF4-FFF2-40B4-BE49-F238E27FC236}">
                <a16:creationId xmlns:a16="http://schemas.microsoft.com/office/drawing/2014/main" id="{71C1F39F-04B3-4B17-B960-BDA89A65267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547" t="9233" r="48569" b="51209"/>
          <a:stretch/>
        </p:blipFill>
        <p:spPr>
          <a:xfrm>
            <a:off x="4087188" y="1225186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5" name="Picture 14" descr="A picture containing person, wall, clothing, person&#10;&#10;Description automatically generated">
            <a:extLst>
              <a:ext uri="{FF2B5EF4-FFF2-40B4-BE49-F238E27FC236}">
                <a16:creationId xmlns:a16="http://schemas.microsoft.com/office/drawing/2014/main" id="{90155B68-80A9-4841-BCB6-6F9D69D1CCB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-789" t="-74" r="789" b="33374"/>
          <a:stretch/>
        </p:blipFill>
        <p:spPr>
          <a:xfrm>
            <a:off x="2917183" y="1747517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17" name="Picture 16" descr="A close-up of a person smiling&#10;&#10;Description automatically generated">
            <a:extLst>
              <a:ext uri="{FF2B5EF4-FFF2-40B4-BE49-F238E27FC236}">
                <a16:creationId xmlns:a16="http://schemas.microsoft.com/office/drawing/2014/main" id="{176223D2-71A8-4ABC-AD06-3FCEFF05137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5505" b="19495"/>
          <a:stretch/>
        </p:blipFill>
        <p:spPr>
          <a:xfrm>
            <a:off x="5097538" y="1747517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ACD58948-E82B-4BFE-B24D-40508AC1F673}"/>
              </a:ext>
            </a:extLst>
          </p:cNvPr>
          <p:cNvGrpSpPr/>
          <p:nvPr/>
        </p:nvGrpSpPr>
        <p:grpSpPr>
          <a:xfrm>
            <a:off x="7281620" y="3363649"/>
            <a:ext cx="593658" cy="593658"/>
            <a:chOff x="150564" y="2754538"/>
            <a:chExt cx="1222428" cy="1222428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74764198-D8C9-4462-9CED-9E31503081FB}"/>
                </a:ext>
              </a:extLst>
            </p:cNvPr>
            <p:cNvSpPr/>
            <p:nvPr/>
          </p:nvSpPr>
          <p:spPr>
            <a:xfrm>
              <a:off x="150564" y="2754538"/>
              <a:ext cx="1222428" cy="122242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7B516FC-FD50-430F-A9AB-6839E85F2D3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5942" y="2879916"/>
              <a:ext cx="971672" cy="971672"/>
              <a:chOff x="5867400" y="3200400"/>
              <a:chExt cx="457200" cy="457200"/>
            </a:xfrm>
          </p:grpSpPr>
          <p:sp>
            <p:nvSpPr>
              <p:cNvPr id="36" name="AutoShape 13">
                <a:extLst>
                  <a:ext uri="{FF2B5EF4-FFF2-40B4-BE49-F238E27FC236}">
                    <a16:creationId xmlns:a16="http://schemas.microsoft.com/office/drawing/2014/main" id="{16FB5197-EC8E-4D00-A41A-922F7A541DB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867400" y="3200400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9E21CE66-F6E6-4EE9-A96A-30490F80FF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49" y="3227387"/>
                <a:ext cx="292100" cy="403920"/>
              </a:xfrm>
              <a:custGeom>
                <a:avLst/>
                <a:gdLst>
                  <a:gd name="connsiteX0" fmla="*/ 128443 w 292100"/>
                  <a:gd name="connsiteY0" fmla="*/ 287337 h 403920"/>
                  <a:gd name="connsiteX1" fmla="*/ 166832 w 292100"/>
                  <a:gd name="connsiteY1" fmla="*/ 287337 h 403920"/>
                  <a:gd name="connsiteX2" fmla="*/ 235840 w 292100"/>
                  <a:gd name="connsiteY2" fmla="*/ 389210 h 403920"/>
                  <a:gd name="connsiteX3" fmla="*/ 234012 w 292100"/>
                  <a:gd name="connsiteY3" fmla="*/ 399764 h 403920"/>
                  <a:gd name="connsiteX4" fmla="*/ 229442 w 292100"/>
                  <a:gd name="connsiteY4" fmla="*/ 402518 h 403920"/>
                  <a:gd name="connsiteX5" fmla="*/ 219388 w 292100"/>
                  <a:gd name="connsiteY5" fmla="*/ 400682 h 403920"/>
                  <a:gd name="connsiteX6" fmla="*/ 157692 w 292100"/>
                  <a:gd name="connsiteY6" fmla="*/ 309823 h 403920"/>
                  <a:gd name="connsiteX7" fmla="*/ 157692 w 292100"/>
                  <a:gd name="connsiteY7" fmla="*/ 396552 h 403920"/>
                  <a:gd name="connsiteX8" fmla="*/ 150380 w 292100"/>
                  <a:gd name="connsiteY8" fmla="*/ 403894 h 403920"/>
                  <a:gd name="connsiteX9" fmla="*/ 144896 w 292100"/>
                  <a:gd name="connsiteY9" fmla="*/ 403894 h 403920"/>
                  <a:gd name="connsiteX10" fmla="*/ 137584 w 292100"/>
                  <a:gd name="connsiteY10" fmla="*/ 396552 h 403920"/>
                  <a:gd name="connsiteX11" fmla="*/ 137584 w 292100"/>
                  <a:gd name="connsiteY11" fmla="*/ 309823 h 403920"/>
                  <a:gd name="connsiteX12" fmla="*/ 75888 w 292100"/>
                  <a:gd name="connsiteY12" fmla="*/ 400682 h 403920"/>
                  <a:gd name="connsiteX13" fmla="*/ 65833 w 292100"/>
                  <a:gd name="connsiteY13" fmla="*/ 402518 h 403920"/>
                  <a:gd name="connsiteX14" fmla="*/ 61263 w 292100"/>
                  <a:gd name="connsiteY14" fmla="*/ 399764 h 403920"/>
                  <a:gd name="connsiteX15" fmla="*/ 59435 w 292100"/>
                  <a:gd name="connsiteY15" fmla="*/ 389210 h 403920"/>
                  <a:gd name="connsiteX16" fmla="*/ 128443 w 292100"/>
                  <a:gd name="connsiteY16" fmla="*/ 287337 h 403920"/>
                  <a:gd name="connsiteX17" fmla="*/ 62820 w 292100"/>
                  <a:gd name="connsiteY17" fmla="*/ 130175 h 403920"/>
                  <a:gd name="connsiteX18" fmla="*/ 55563 w 292100"/>
                  <a:gd name="connsiteY18" fmla="*/ 138353 h 403920"/>
                  <a:gd name="connsiteX19" fmla="*/ 62820 w 292100"/>
                  <a:gd name="connsiteY19" fmla="*/ 146050 h 403920"/>
                  <a:gd name="connsiteX20" fmla="*/ 156256 w 292100"/>
                  <a:gd name="connsiteY20" fmla="*/ 146050 h 403920"/>
                  <a:gd name="connsiteX21" fmla="*/ 163513 w 292100"/>
                  <a:gd name="connsiteY21" fmla="*/ 138353 h 403920"/>
                  <a:gd name="connsiteX22" fmla="*/ 156256 w 292100"/>
                  <a:gd name="connsiteY22" fmla="*/ 130175 h 403920"/>
                  <a:gd name="connsiteX23" fmla="*/ 62820 w 292100"/>
                  <a:gd name="connsiteY23" fmla="*/ 130175 h 403920"/>
                  <a:gd name="connsiteX24" fmla="*/ 62902 w 292100"/>
                  <a:gd name="connsiteY24" fmla="*/ 93662 h 403920"/>
                  <a:gd name="connsiteX25" fmla="*/ 55563 w 292100"/>
                  <a:gd name="connsiteY25" fmla="*/ 101840 h 403920"/>
                  <a:gd name="connsiteX26" fmla="*/ 62902 w 292100"/>
                  <a:gd name="connsiteY26" fmla="*/ 109537 h 403920"/>
                  <a:gd name="connsiteX27" fmla="*/ 230787 w 292100"/>
                  <a:gd name="connsiteY27" fmla="*/ 109537 h 403920"/>
                  <a:gd name="connsiteX28" fmla="*/ 238126 w 292100"/>
                  <a:gd name="connsiteY28" fmla="*/ 101840 h 403920"/>
                  <a:gd name="connsiteX29" fmla="*/ 230787 w 292100"/>
                  <a:gd name="connsiteY29" fmla="*/ 93662 h 403920"/>
                  <a:gd name="connsiteX30" fmla="*/ 62902 w 292100"/>
                  <a:gd name="connsiteY30" fmla="*/ 93662 h 403920"/>
                  <a:gd name="connsiteX31" fmla="*/ 62902 w 292100"/>
                  <a:gd name="connsiteY31" fmla="*/ 58737 h 403920"/>
                  <a:gd name="connsiteX32" fmla="*/ 55563 w 292100"/>
                  <a:gd name="connsiteY32" fmla="*/ 65635 h 403920"/>
                  <a:gd name="connsiteX33" fmla="*/ 62902 w 292100"/>
                  <a:gd name="connsiteY33" fmla="*/ 73025 h 403920"/>
                  <a:gd name="connsiteX34" fmla="*/ 230787 w 292100"/>
                  <a:gd name="connsiteY34" fmla="*/ 73025 h 403920"/>
                  <a:gd name="connsiteX35" fmla="*/ 238126 w 292100"/>
                  <a:gd name="connsiteY35" fmla="*/ 65635 h 403920"/>
                  <a:gd name="connsiteX36" fmla="*/ 230787 w 292100"/>
                  <a:gd name="connsiteY36" fmla="*/ 58737 h 403920"/>
                  <a:gd name="connsiteX37" fmla="*/ 62902 w 292100"/>
                  <a:gd name="connsiteY37" fmla="*/ 58737 h 403920"/>
                  <a:gd name="connsiteX38" fmla="*/ 10041 w 292100"/>
                  <a:gd name="connsiteY38" fmla="*/ 0 h 403920"/>
                  <a:gd name="connsiteX39" fmla="*/ 282059 w 292100"/>
                  <a:gd name="connsiteY39" fmla="*/ 0 h 403920"/>
                  <a:gd name="connsiteX40" fmla="*/ 292100 w 292100"/>
                  <a:gd name="connsiteY40" fmla="*/ 10082 h 403920"/>
                  <a:gd name="connsiteX41" fmla="*/ 282059 w 292100"/>
                  <a:gd name="connsiteY41" fmla="*/ 20163 h 403920"/>
                  <a:gd name="connsiteX42" fmla="*/ 276126 w 292100"/>
                  <a:gd name="connsiteY42" fmla="*/ 20163 h 403920"/>
                  <a:gd name="connsiteX43" fmla="*/ 276126 w 292100"/>
                  <a:gd name="connsiteY43" fmla="*/ 256619 h 403920"/>
                  <a:gd name="connsiteX44" fmla="*/ 266085 w 292100"/>
                  <a:gd name="connsiteY44" fmla="*/ 266700 h 403920"/>
                  <a:gd name="connsiteX45" fmla="*/ 26015 w 292100"/>
                  <a:gd name="connsiteY45" fmla="*/ 266700 h 403920"/>
                  <a:gd name="connsiteX46" fmla="*/ 15974 w 292100"/>
                  <a:gd name="connsiteY46" fmla="*/ 256619 h 403920"/>
                  <a:gd name="connsiteX47" fmla="*/ 15974 w 292100"/>
                  <a:gd name="connsiteY47" fmla="*/ 20163 h 403920"/>
                  <a:gd name="connsiteX48" fmla="*/ 10041 w 292100"/>
                  <a:gd name="connsiteY48" fmla="*/ 20163 h 403920"/>
                  <a:gd name="connsiteX49" fmla="*/ 0 w 292100"/>
                  <a:gd name="connsiteY49" fmla="*/ 10082 h 403920"/>
                  <a:gd name="connsiteX50" fmla="*/ 10041 w 292100"/>
                  <a:gd name="connsiteY50" fmla="*/ 0 h 403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92100" h="403920">
                    <a:moveTo>
                      <a:pt x="128443" y="287337"/>
                    </a:moveTo>
                    <a:cubicBezTo>
                      <a:pt x="128443" y="287337"/>
                      <a:pt x="128443" y="287337"/>
                      <a:pt x="166832" y="287337"/>
                    </a:cubicBezTo>
                    <a:lnTo>
                      <a:pt x="235840" y="389210"/>
                    </a:lnTo>
                    <a:cubicBezTo>
                      <a:pt x="238125" y="392881"/>
                      <a:pt x="237211" y="397470"/>
                      <a:pt x="234012" y="399764"/>
                    </a:cubicBezTo>
                    <a:cubicBezTo>
                      <a:pt x="234012" y="399764"/>
                      <a:pt x="234012" y="399764"/>
                      <a:pt x="229442" y="402518"/>
                    </a:cubicBezTo>
                    <a:cubicBezTo>
                      <a:pt x="226243" y="404812"/>
                      <a:pt x="221673" y="404353"/>
                      <a:pt x="219388" y="400682"/>
                    </a:cubicBezTo>
                    <a:cubicBezTo>
                      <a:pt x="219388" y="400682"/>
                      <a:pt x="219388" y="400682"/>
                      <a:pt x="157692" y="309823"/>
                    </a:cubicBezTo>
                    <a:cubicBezTo>
                      <a:pt x="157692" y="309823"/>
                      <a:pt x="157692" y="309823"/>
                      <a:pt x="157692" y="396552"/>
                    </a:cubicBezTo>
                    <a:cubicBezTo>
                      <a:pt x="157692" y="400682"/>
                      <a:pt x="154493" y="403894"/>
                      <a:pt x="150380" y="403894"/>
                    </a:cubicBezTo>
                    <a:cubicBezTo>
                      <a:pt x="150380" y="403894"/>
                      <a:pt x="150380" y="403894"/>
                      <a:pt x="144896" y="403894"/>
                    </a:cubicBezTo>
                    <a:cubicBezTo>
                      <a:pt x="140783" y="403894"/>
                      <a:pt x="137584" y="400682"/>
                      <a:pt x="137584" y="396552"/>
                    </a:cubicBezTo>
                    <a:cubicBezTo>
                      <a:pt x="137584" y="396552"/>
                      <a:pt x="137584" y="396552"/>
                      <a:pt x="137584" y="309823"/>
                    </a:cubicBezTo>
                    <a:cubicBezTo>
                      <a:pt x="137584" y="309823"/>
                      <a:pt x="137584" y="309823"/>
                      <a:pt x="75888" y="400682"/>
                    </a:cubicBezTo>
                    <a:cubicBezTo>
                      <a:pt x="73603" y="404353"/>
                      <a:pt x="69032" y="404812"/>
                      <a:pt x="65833" y="402518"/>
                    </a:cubicBezTo>
                    <a:cubicBezTo>
                      <a:pt x="65833" y="402518"/>
                      <a:pt x="65833" y="402518"/>
                      <a:pt x="61263" y="399764"/>
                    </a:cubicBezTo>
                    <a:cubicBezTo>
                      <a:pt x="58064" y="397470"/>
                      <a:pt x="57150" y="392881"/>
                      <a:pt x="59435" y="389210"/>
                    </a:cubicBezTo>
                    <a:cubicBezTo>
                      <a:pt x="59435" y="389210"/>
                      <a:pt x="59435" y="389210"/>
                      <a:pt x="128443" y="287337"/>
                    </a:cubicBezTo>
                    <a:close/>
                    <a:moveTo>
                      <a:pt x="62820" y="130175"/>
                    </a:moveTo>
                    <a:cubicBezTo>
                      <a:pt x="58738" y="130175"/>
                      <a:pt x="55563" y="133543"/>
                      <a:pt x="55563" y="138353"/>
                    </a:cubicBezTo>
                    <a:cubicBezTo>
                      <a:pt x="55563" y="142683"/>
                      <a:pt x="58738" y="146050"/>
                      <a:pt x="62820" y="146050"/>
                    </a:cubicBezTo>
                    <a:cubicBezTo>
                      <a:pt x="137660" y="146050"/>
                      <a:pt x="153535" y="146050"/>
                      <a:pt x="156256" y="146050"/>
                    </a:cubicBezTo>
                    <a:cubicBezTo>
                      <a:pt x="160338" y="146050"/>
                      <a:pt x="163513" y="142683"/>
                      <a:pt x="163513" y="138353"/>
                    </a:cubicBezTo>
                    <a:cubicBezTo>
                      <a:pt x="163513" y="133543"/>
                      <a:pt x="160338" y="130175"/>
                      <a:pt x="156256" y="130175"/>
                    </a:cubicBezTo>
                    <a:cubicBezTo>
                      <a:pt x="81417" y="130175"/>
                      <a:pt x="65542" y="130175"/>
                      <a:pt x="62820" y="130175"/>
                    </a:cubicBezTo>
                    <a:close/>
                    <a:moveTo>
                      <a:pt x="62902" y="93662"/>
                    </a:moveTo>
                    <a:cubicBezTo>
                      <a:pt x="58774" y="93662"/>
                      <a:pt x="55563" y="97511"/>
                      <a:pt x="55563" y="101840"/>
                    </a:cubicBezTo>
                    <a:cubicBezTo>
                      <a:pt x="55563" y="106170"/>
                      <a:pt x="58774" y="109537"/>
                      <a:pt x="62902" y="109537"/>
                    </a:cubicBezTo>
                    <a:cubicBezTo>
                      <a:pt x="209228" y="109537"/>
                      <a:pt x="228494" y="109537"/>
                      <a:pt x="230787" y="109537"/>
                    </a:cubicBezTo>
                    <a:cubicBezTo>
                      <a:pt x="234915" y="109537"/>
                      <a:pt x="238126" y="106170"/>
                      <a:pt x="238126" y="101840"/>
                    </a:cubicBezTo>
                    <a:cubicBezTo>
                      <a:pt x="238126" y="97511"/>
                      <a:pt x="234915" y="93662"/>
                      <a:pt x="230787" y="93662"/>
                    </a:cubicBezTo>
                    <a:cubicBezTo>
                      <a:pt x="84461" y="93662"/>
                      <a:pt x="65196" y="93662"/>
                      <a:pt x="62902" y="93662"/>
                    </a:cubicBezTo>
                    <a:close/>
                    <a:moveTo>
                      <a:pt x="62902" y="58737"/>
                    </a:moveTo>
                    <a:cubicBezTo>
                      <a:pt x="58774" y="58737"/>
                      <a:pt x="55563" y="61693"/>
                      <a:pt x="55563" y="65635"/>
                    </a:cubicBezTo>
                    <a:cubicBezTo>
                      <a:pt x="55563" y="70069"/>
                      <a:pt x="58774" y="73025"/>
                      <a:pt x="62902" y="73025"/>
                    </a:cubicBezTo>
                    <a:cubicBezTo>
                      <a:pt x="209228" y="73025"/>
                      <a:pt x="228494" y="73025"/>
                      <a:pt x="230787" y="73025"/>
                    </a:cubicBezTo>
                    <a:cubicBezTo>
                      <a:pt x="234915" y="73025"/>
                      <a:pt x="238126" y="70069"/>
                      <a:pt x="238126" y="65635"/>
                    </a:cubicBezTo>
                    <a:cubicBezTo>
                      <a:pt x="238126" y="61693"/>
                      <a:pt x="234915" y="58737"/>
                      <a:pt x="230787" y="58737"/>
                    </a:cubicBezTo>
                    <a:cubicBezTo>
                      <a:pt x="84461" y="58737"/>
                      <a:pt x="65196" y="58737"/>
                      <a:pt x="62902" y="58737"/>
                    </a:cubicBezTo>
                    <a:close/>
                    <a:moveTo>
                      <a:pt x="10041" y="0"/>
                    </a:moveTo>
                    <a:cubicBezTo>
                      <a:pt x="10041" y="0"/>
                      <a:pt x="10041" y="0"/>
                      <a:pt x="282059" y="0"/>
                    </a:cubicBezTo>
                    <a:cubicBezTo>
                      <a:pt x="287536" y="0"/>
                      <a:pt x="292100" y="4583"/>
                      <a:pt x="292100" y="10082"/>
                    </a:cubicBezTo>
                    <a:cubicBezTo>
                      <a:pt x="292100" y="15581"/>
                      <a:pt x="287536" y="20163"/>
                      <a:pt x="282059" y="20163"/>
                    </a:cubicBezTo>
                    <a:cubicBezTo>
                      <a:pt x="282059" y="20163"/>
                      <a:pt x="282059" y="20163"/>
                      <a:pt x="276126" y="20163"/>
                    </a:cubicBezTo>
                    <a:cubicBezTo>
                      <a:pt x="276126" y="20163"/>
                      <a:pt x="276126" y="20163"/>
                      <a:pt x="276126" y="256619"/>
                    </a:cubicBezTo>
                    <a:cubicBezTo>
                      <a:pt x="276126" y="262576"/>
                      <a:pt x="271562" y="266700"/>
                      <a:pt x="266085" y="266700"/>
                    </a:cubicBezTo>
                    <a:cubicBezTo>
                      <a:pt x="266085" y="266700"/>
                      <a:pt x="266085" y="266700"/>
                      <a:pt x="26015" y="266700"/>
                    </a:cubicBezTo>
                    <a:cubicBezTo>
                      <a:pt x="20539" y="266700"/>
                      <a:pt x="15974" y="262576"/>
                      <a:pt x="15974" y="256619"/>
                    </a:cubicBezTo>
                    <a:cubicBezTo>
                      <a:pt x="15974" y="256619"/>
                      <a:pt x="15974" y="256619"/>
                      <a:pt x="15974" y="20163"/>
                    </a:cubicBezTo>
                    <a:cubicBezTo>
                      <a:pt x="15974" y="20163"/>
                      <a:pt x="15974" y="20163"/>
                      <a:pt x="10041" y="20163"/>
                    </a:cubicBezTo>
                    <a:cubicBezTo>
                      <a:pt x="4564" y="20163"/>
                      <a:pt x="0" y="15581"/>
                      <a:pt x="0" y="10082"/>
                    </a:cubicBezTo>
                    <a:cubicBezTo>
                      <a:pt x="0" y="4583"/>
                      <a:pt x="4564" y="0"/>
                      <a:pt x="1004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BF5954B-CDFB-4E2D-942F-7958818B13E8}"/>
              </a:ext>
            </a:extLst>
          </p:cNvPr>
          <p:cNvGrpSpPr/>
          <p:nvPr/>
        </p:nvGrpSpPr>
        <p:grpSpPr>
          <a:xfrm>
            <a:off x="6657055" y="2864403"/>
            <a:ext cx="593658" cy="593658"/>
            <a:chOff x="-1833341" y="3888575"/>
            <a:chExt cx="593658" cy="593658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2750CDB4-1F6D-4B34-B0B1-A9EABB56F331}"/>
                </a:ext>
              </a:extLst>
            </p:cNvPr>
            <p:cNvSpPr/>
            <p:nvPr/>
          </p:nvSpPr>
          <p:spPr>
            <a:xfrm>
              <a:off x="-1833341" y="3888575"/>
              <a:ext cx="593658" cy="59365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pic>
          <p:nvPicPr>
            <p:cNvPr id="52" name="Picture 51" descr="Icon&#10;&#10;Description automatically generated">
              <a:extLst>
                <a:ext uri="{FF2B5EF4-FFF2-40B4-BE49-F238E27FC236}">
                  <a16:creationId xmlns:a16="http://schemas.microsoft.com/office/drawing/2014/main" id="{FBB55E51-665C-4D71-95DD-71A686348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-1766961" y="3954955"/>
              <a:ext cx="460897" cy="460897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61A052F-F4A5-4439-83D0-FF72CF0E17D4}"/>
              </a:ext>
            </a:extLst>
          </p:cNvPr>
          <p:cNvGrpSpPr/>
          <p:nvPr/>
        </p:nvGrpSpPr>
        <p:grpSpPr>
          <a:xfrm>
            <a:off x="233507" y="1992504"/>
            <a:ext cx="593658" cy="593658"/>
            <a:chOff x="-2169268" y="2562423"/>
            <a:chExt cx="593658" cy="593658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412EEC9-3484-4757-890A-8065617E043E}"/>
                </a:ext>
              </a:extLst>
            </p:cNvPr>
            <p:cNvSpPr/>
            <p:nvPr/>
          </p:nvSpPr>
          <p:spPr>
            <a:xfrm>
              <a:off x="-2169268" y="2562423"/>
              <a:ext cx="593658" cy="59365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pic>
          <p:nvPicPr>
            <p:cNvPr id="58" name="Picture 57" descr="Icon&#10;&#10;Description automatically generated">
              <a:extLst>
                <a:ext uri="{FF2B5EF4-FFF2-40B4-BE49-F238E27FC236}">
                  <a16:creationId xmlns:a16="http://schemas.microsoft.com/office/drawing/2014/main" id="{3989055B-3597-465D-90FC-17590EAE6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-2069912" y="2637256"/>
              <a:ext cx="394946" cy="443992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F3707C2-F84E-414F-B4BB-A17F82C16C67}"/>
              </a:ext>
            </a:extLst>
          </p:cNvPr>
          <p:cNvGrpSpPr/>
          <p:nvPr/>
        </p:nvGrpSpPr>
        <p:grpSpPr>
          <a:xfrm>
            <a:off x="1795029" y="1062957"/>
            <a:ext cx="593658" cy="593658"/>
            <a:chOff x="5640672" y="717332"/>
            <a:chExt cx="593658" cy="593658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F11BBD99-23C9-49CB-B682-AA641FD50898}"/>
                </a:ext>
              </a:extLst>
            </p:cNvPr>
            <p:cNvSpPr/>
            <p:nvPr/>
          </p:nvSpPr>
          <p:spPr>
            <a:xfrm>
              <a:off x="5640672" y="717332"/>
              <a:ext cx="593658" cy="59365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59" name="Group 4">
              <a:extLst>
                <a:ext uri="{FF2B5EF4-FFF2-40B4-BE49-F238E27FC236}">
                  <a16:creationId xmlns:a16="http://schemas.microsoft.com/office/drawing/2014/main" id="{03A26454-0EA2-4608-AED3-612914B20F9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40672" y="717332"/>
              <a:ext cx="593658" cy="593658"/>
              <a:chOff x="2652" y="972"/>
              <a:chExt cx="2376" cy="2376"/>
            </a:xfrm>
          </p:grpSpPr>
          <p:sp>
            <p:nvSpPr>
              <p:cNvPr id="60" name="AutoShape 3">
                <a:extLst>
                  <a:ext uri="{FF2B5EF4-FFF2-40B4-BE49-F238E27FC236}">
                    <a16:creationId xmlns:a16="http://schemas.microsoft.com/office/drawing/2014/main" id="{79905009-C6AE-42C6-A90F-0B93DE2E73C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5">
                <a:extLst>
                  <a:ext uri="{FF2B5EF4-FFF2-40B4-BE49-F238E27FC236}">
                    <a16:creationId xmlns:a16="http://schemas.microsoft.com/office/drawing/2014/main" id="{D806C447-C145-4226-BC36-C05E5C16D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97" y="1119"/>
                <a:ext cx="1889" cy="2084"/>
              </a:xfrm>
              <a:custGeom>
                <a:avLst/>
                <a:gdLst>
                  <a:gd name="T0" fmla="*/ 368 w 794"/>
                  <a:gd name="T1" fmla="*/ 489 h 876"/>
                  <a:gd name="T2" fmla="*/ 387 w 794"/>
                  <a:gd name="T3" fmla="*/ 635 h 876"/>
                  <a:gd name="T4" fmla="*/ 407 w 794"/>
                  <a:gd name="T5" fmla="*/ 635 h 876"/>
                  <a:gd name="T6" fmla="*/ 381 w 794"/>
                  <a:gd name="T7" fmla="*/ 835 h 876"/>
                  <a:gd name="T8" fmla="*/ 344 w 794"/>
                  <a:gd name="T9" fmla="*/ 790 h 876"/>
                  <a:gd name="T10" fmla="*/ 337 w 794"/>
                  <a:gd name="T11" fmla="*/ 749 h 876"/>
                  <a:gd name="T12" fmla="*/ 348 w 794"/>
                  <a:gd name="T13" fmla="*/ 721 h 876"/>
                  <a:gd name="T14" fmla="*/ 338 w 794"/>
                  <a:gd name="T15" fmla="*/ 684 h 876"/>
                  <a:gd name="T16" fmla="*/ 397 w 794"/>
                  <a:gd name="T17" fmla="*/ 406 h 876"/>
                  <a:gd name="T18" fmla="*/ 397 w 794"/>
                  <a:gd name="T19" fmla="*/ 406 h 876"/>
                  <a:gd name="T20" fmla="*/ 456 w 794"/>
                  <a:gd name="T21" fmla="*/ 437 h 876"/>
                  <a:gd name="T22" fmla="*/ 576 w 794"/>
                  <a:gd name="T23" fmla="*/ 345 h 876"/>
                  <a:gd name="T24" fmla="*/ 555 w 794"/>
                  <a:gd name="T25" fmla="*/ 276 h 876"/>
                  <a:gd name="T26" fmla="*/ 619 w 794"/>
                  <a:gd name="T27" fmla="*/ 260 h 876"/>
                  <a:gd name="T28" fmla="*/ 673 w 794"/>
                  <a:gd name="T29" fmla="*/ 197 h 876"/>
                  <a:gd name="T30" fmla="*/ 699 w 794"/>
                  <a:gd name="T31" fmla="*/ 346 h 876"/>
                  <a:gd name="T32" fmla="*/ 654 w 794"/>
                  <a:gd name="T33" fmla="*/ 325 h 876"/>
                  <a:gd name="T34" fmla="*/ 620 w 794"/>
                  <a:gd name="T35" fmla="*/ 291 h 876"/>
                  <a:gd name="T36" fmla="*/ 218 w 794"/>
                  <a:gd name="T37" fmla="*/ 345 h 876"/>
                  <a:gd name="T38" fmla="*/ 346 w 794"/>
                  <a:gd name="T39" fmla="*/ 407 h 876"/>
                  <a:gd name="T40" fmla="*/ 334 w 794"/>
                  <a:gd name="T41" fmla="*/ 389 h 876"/>
                  <a:gd name="T42" fmla="*/ 0 w 794"/>
                  <a:gd name="T43" fmla="*/ 276 h 876"/>
                  <a:gd name="T44" fmla="*/ 178 w 794"/>
                  <a:gd name="T45" fmla="*/ 205 h 876"/>
                  <a:gd name="T46" fmla="*/ 168 w 794"/>
                  <a:gd name="T47" fmla="*/ 242 h 876"/>
                  <a:gd name="T48" fmla="*/ 179 w 794"/>
                  <a:gd name="T49" fmla="*/ 270 h 876"/>
                  <a:gd name="T50" fmla="*/ 173 w 794"/>
                  <a:gd name="T51" fmla="*/ 311 h 876"/>
                  <a:gd name="T52" fmla="*/ 136 w 794"/>
                  <a:gd name="T53" fmla="*/ 356 h 876"/>
                  <a:gd name="T54" fmla="*/ 58 w 794"/>
                  <a:gd name="T55" fmla="*/ 233 h 876"/>
                  <a:gd name="T56" fmla="*/ 423 w 794"/>
                  <a:gd name="T57" fmla="*/ 382 h 876"/>
                  <a:gd name="T58" fmla="*/ 407 w 794"/>
                  <a:gd name="T59" fmla="*/ 356 h 876"/>
                  <a:gd name="T60" fmla="*/ 277 w 794"/>
                  <a:gd name="T61" fmla="*/ 120 h 876"/>
                  <a:gd name="T62" fmla="*/ 456 w 794"/>
                  <a:gd name="T63" fmla="*/ 49 h 876"/>
                  <a:gd name="T64" fmla="*/ 446 w 794"/>
                  <a:gd name="T65" fmla="*/ 86 h 876"/>
                  <a:gd name="T66" fmla="*/ 457 w 794"/>
                  <a:gd name="T67" fmla="*/ 114 h 876"/>
                  <a:gd name="T68" fmla="*/ 450 w 794"/>
                  <a:gd name="T69" fmla="*/ 154 h 876"/>
                  <a:gd name="T70" fmla="*/ 413 w 794"/>
                  <a:gd name="T71" fmla="*/ 199 h 876"/>
                  <a:gd name="T72" fmla="*/ 335 w 794"/>
                  <a:gd name="T73" fmla="*/ 77 h 876"/>
                  <a:gd name="T74" fmla="*/ 338 w 794"/>
                  <a:gd name="T75" fmla="*/ 435 h 876"/>
                  <a:gd name="T76" fmla="*/ 218 w 794"/>
                  <a:gd name="T77" fmla="*/ 526 h 876"/>
                  <a:gd name="T78" fmla="*/ 239 w 794"/>
                  <a:gd name="T79" fmla="*/ 594 h 876"/>
                  <a:gd name="T80" fmla="*/ 174 w 794"/>
                  <a:gd name="T81" fmla="*/ 609 h 876"/>
                  <a:gd name="T82" fmla="*/ 140 w 794"/>
                  <a:gd name="T83" fmla="*/ 643 h 876"/>
                  <a:gd name="T84" fmla="*/ 95 w 794"/>
                  <a:gd name="T85" fmla="*/ 663 h 876"/>
                  <a:gd name="T86" fmla="*/ 121 w 794"/>
                  <a:gd name="T87" fmla="*/ 517 h 876"/>
                  <a:gd name="T88" fmla="*/ 175 w 794"/>
                  <a:gd name="T89" fmla="*/ 578 h 876"/>
                  <a:gd name="T90" fmla="*/ 576 w 794"/>
                  <a:gd name="T91" fmla="*/ 526 h 876"/>
                  <a:gd name="T92" fmla="*/ 429 w 794"/>
                  <a:gd name="T93" fmla="*/ 485 h 876"/>
                  <a:gd name="T94" fmla="*/ 566 w 794"/>
                  <a:gd name="T95" fmla="*/ 544 h 876"/>
                  <a:gd name="T96" fmla="*/ 675 w 794"/>
                  <a:gd name="T97" fmla="*/ 475 h 876"/>
                  <a:gd name="T98" fmla="*/ 658 w 794"/>
                  <a:gd name="T99" fmla="*/ 674 h 876"/>
                  <a:gd name="T100" fmla="*/ 621 w 794"/>
                  <a:gd name="T101" fmla="*/ 629 h 876"/>
                  <a:gd name="T102" fmla="*/ 615 w 794"/>
                  <a:gd name="T103" fmla="*/ 589 h 876"/>
                  <a:gd name="T104" fmla="*/ 626 w 794"/>
                  <a:gd name="T105" fmla="*/ 561 h 876"/>
                  <a:gd name="T106" fmla="*/ 616 w 794"/>
                  <a:gd name="T107" fmla="*/ 524 h 8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94" h="876">
                    <a:moveTo>
                      <a:pt x="407" y="635"/>
                    </a:moveTo>
                    <a:cubicBezTo>
                      <a:pt x="407" y="507"/>
                      <a:pt x="407" y="507"/>
                      <a:pt x="407" y="507"/>
                    </a:cubicBezTo>
                    <a:cubicBezTo>
                      <a:pt x="407" y="501"/>
                      <a:pt x="403" y="496"/>
                      <a:pt x="397" y="496"/>
                    </a:cubicBezTo>
                    <a:cubicBezTo>
                      <a:pt x="387" y="496"/>
                      <a:pt x="377" y="494"/>
                      <a:pt x="368" y="489"/>
                    </a:cubicBezTo>
                    <a:cubicBezTo>
                      <a:pt x="363" y="486"/>
                      <a:pt x="357" y="488"/>
                      <a:pt x="354" y="493"/>
                    </a:cubicBezTo>
                    <a:cubicBezTo>
                      <a:pt x="352" y="498"/>
                      <a:pt x="353" y="504"/>
                      <a:pt x="358" y="507"/>
                    </a:cubicBezTo>
                    <a:cubicBezTo>
                      <a:pt x="367" y="512"/>
                      <a:pt x="377" y="515"/>
                      <a:pt x="387" y="517"/>
                    </a:cubicBezTo>
                    <a:cubicBezTo>
                      <a:pt x="387" y="635"/>
                      <a:pt x="387" y="635"/>
                      <a:pt x="387" y="635"/>
                    </a:cubicBezTo>
                    <a:cubicBezTo>
                      <a:pt x="325" y="640"/>
                      <a:pt x="277" y="692"/>
                      <a:pt x="277" y="755"/>
                    </a:cubicBezTo>
                    <a:cubicBezTo>
                      <a:pt x="277" y="822"/>
                      <a:pt x="331" y="876"/>
                      <a:pt x="397" y="876"/>
                    </a:cubicBezTo>
                    <a:cubicBezTo>
                      <a:pt x="463" y="876"/>
                      <a:pt x="517" y="822"/>
                      <a:pt x="517" y="755"/>
                    </a:cubicBezTo>
                    <a:cubicBezTo>
                      <a:pt x="517" y="692"/>
                      <a:pt x="469" y="640"/>
                      <a:pt x="407" y="635"/>
                    </a:cubicBezTo>
                    <a:close/>
                    <a:moveTo>
                      <a:pt x="438" y="787"/>
                    </a:moveTo>
                    <a:cubicBezTo>
                      <a:pt x="438" y="822"/>
                      <a:pt x="438" y="822"/>
                      <a:pt x="438" y="822"/>
                    </a:cubicBezTo>
                    <a:cubicBezTo>
                      <a:pt x="438" y="824"/>
                      <a:pt x="437" y="825"/>
                      <a:pt x="436" y="826"/>
                    </a:cubicBezTo>
                    <a:cubicBezTo>
                      <a:pt x="413" y="835"/>
                      <a:pt x="383" y="835"/>
                      <a:pt x="381" y="835"/>
                    </a:cubicBezTo>
                    <a:cubicBezTo>
                      <a:pt x="378" y="835"/>
                      <a:pt x="377" y="834"/>
                      <a:pt x="377" y="832"/>
                    </a:cubicBezTo>
                    <a:cubicBezTo>
                      <a:pt x="377" y="808"/>
                      <a:pt x="377" y="808"/>
                      <a:pt x="377" y="808"/>
                    </a:cubicBezTo>
                    <a:cubicBezTo>
                      <a:pt x="363" y="809"/>
                      <a:pt x="352" y="807"/>
                      <a:pt x="349" y="806"/>
                    </a:cubicBezTo>
                    <a:cubicBezTo>
                      <a:pt x="345" y="804"/>
                      <a:pt x="345" y="799"/>
                      <a:pt x="344" y="790"/>
                    </a:cubicBezTo>
                    <a:cubicBezTo>
                      <a:pt x="344" y="789"/>
                      <a:pt x="344" y="789"/>
                      <a:pt x="344" y="789"/>
                    </a:cubicBezTo>
                    <a:cubicBezTo>
                      <a:pt x="344" y="783"/>
                      <a:pt x="344" y="775"/>
                      <a:pt x="345" y="770"/>
                    </a:cubicBezTo>
                    <a:cubicBezTo>
                      <a:pt x="334" y="769"/>
                      <a:pt x="331" y="764"/>
                      <a:pt x="331" y="762"/>
                    </a:cubicBezTo>
                    <a:cubicBezTo>
                      <a:pt x="329" y="758"/>
                      <a:pt x="333" y="754"/>
                      <a:pt x="337" y="749"/>
                    </a:cubicBezTo>
                    <a:cubicBezTo>
                      <a:pt x="338" y="749"/>
                      <a:pt x="338" y="748"/>
                      <a:pt x="339" y="748"/>
                    </a:cubicBezTo>
                    <a:cubicBezTo>
                      <a:pt x="340" y="746"/>
                      <a:pt x="342" y="741"/>
                      <a:pt x="344" y="736"/>
                    </a:cubicBezTo>
                    <a:cubicBezTo>
                      <a:pt x="345" y="735"/>
                      <a:pt x="345" y="733"/>
                      <a:pt x="346" y="730"/>
                    </a:cubicBezTo>
                    <a:cubicBezTo>
                      <a:pt x="346" y="727"/>
                      <a:pt x="347" y="724"/>
                      <a:pt x="348" y="721"/>
                    </a:cubicBezTo>
                    <a:cubicBezTo>
                      <a:pt x="349" y="718"/>
                      <a:pt x="350" y="710"/>
                      <a:pt x="350" y="705"/>
                    </a:cubicBezTo>
                    <a:cubicBezTo>
                      <a:pt x="349" y="704"/>
                      <a:pt x="348" y="705"/>
                      <a:pt x="348" y="705"/>
                    </a:cubicBezTo>
                    <a:cubicBezTo>
                      <a:pt x="348" y="705"/>
                      <a:pt x="348" y="705"/>
                      <a:pt x="348" y="704"/>
                    </a:cubicBezTo>
                    <a:cubicBezTo>
                      <a:pt x="346" y="697"/>
                      <a:pt x="334" y="684"/>
                      <a:pt x="338" y="684"/>
                    </a:cubicBezTo>
                    <a:cubicBezTo>
                      <a:pt x="374" y="685"/>
                      <a:pt x="363" y="675"/>
                      <a:pt x="401" y="675"/>
                    </a:cubicBezTo>
                    <a:cubicBezTo>
                      <a:pt x="434" y="675"/>
                      <a:pt x="451" y="695"/>
                      <a:pt x="459" y="712"/>
                    </a:cubicBezTo>
                    <a:cubicBezTo>
                      <a:pt x="473" y="744"/>
                      <a:pt x="450" y="775"/>
                      <a:pt x="438" y="787"/>
                    </a:cubicBezTo>
                    <a:close/>
                    <a:moveTo>
                      <a:pt x="397" y="406"/>
                    </a:moveTo>
                    <a:cubicBezTo>
                      <a:pt x="380" y="406"/>
                      <a:pt x="366" y="420"/>
                      <a:pt x="366" y="437"/>
                    </a:cubicBezTo>
                    <a:cubicBezTo>
                      <a:pt x="366" y="454"/>
                      <a:pt x="380" y="468"/>
                      <a:pt x="397" y="468"/>
                    </a:cubicBezTo>
                    <a:cubicBezTo>
                      <a:pt x="414" y="468"/>
                      <a:pt x="428" y="454"/>
                      <a:pt x="428" y="437"/>
                    </a:cubicBezTo>
                    <a:cubicBezTo>
                      <a:pt x="428" y="420"/>
                      <a:pt x="414" y="406"/>
                      <a:pt x="397" y="406"/>
                    </a:cubicBezTo>
                    <a:close/>
                    <a:moveTo>
                      <a:pt x="452" y="393"/>
                    </a:moveTo>
                    <a:cubicBezTo>
                      <a:pt x="448" y="396"/>
                      <a:pt x="446" y="401"/>
                      <a:pt x="447" y="405"/>
                    </a:cubicBezTo>
                    <a:cubicBezTo>
                      <a:pt x="448" y="406"/>
                      <a:pt x="448" y="407"/>
                      <a:pt x="448" y="408"/>
                    </a:cubicBezTo>
                    <a:cubicBezTo>
                      <a:pt x="454" y="417"/>
                      <a:pt x="456" y="427"/>
                      <a:pt x="456" y="437"/>
                    </a:cubicBezTo>
                    <a:cubicBezTo>
                      <a:pt x="456" y="443"/>
                      <a:pt x="461" y="447"/>
                      <a:pt x="466" y="447"/>
                    </a:cubicBezTo>
                    <a:cubicBezTo>
                      <a:pt x="472" y="447"/>
                      <a:pt x="476" y="443"/>
                      <a:pt x="476" y="437"/>
                    </a:cubicBezTo>
                    <a:cubicBezTo>
                      <a:pt x="476" y="426"/>
                      <a:pt x="474" y="416"/>
                      <a:pt x="470" y="406"/>
                    </a:cubicBezTo>
                    <a:cubicBezTo>
                      <a:pt x="576" y="345"/>
                      <a:pt x="576" y="345"/>
                      <a:pt x="576" y="345"/>
                    </a:cubicBezTo>
                    <a:cubicBezTo>
                      <a:pt x="598" y="376"/>
                      <a:pt x="633" y="397"/>
                      <a:pt x="675" y="397"/>
                    </a:cubicBezTo>
                    <a:cubicBezTo>
                      <a:pt x="741" y="397"/>
                      <a:pt x="794" y="343"/>
                      <a:pt x="794" y="276"/>
                    </a:cubicBezTo>
                    <a:cubicBezTo>
                      <a:pt x="794" y="210"/>
                      <a:pt x="741" y="155"/>
                      <a:pt x="675" y="155"/>
                    </a:cubicBezTo>
                    <a:cubicBezTo>
                      <a:pt x="608" y="155"/>
                      <a:pt x="555" y="210"/>
                      <a:pt x="555" y="276"/>
                    </a:cubicBezTo>
                    <a:cubicBezTo>
                      <a:pt x="555" y="295"/>
                      <a:pt x="558" y="312"/>
                      <a:pt x="566" y="327"/>
                    </a:cubicBezTo>
                    <a:cubicBezTo>
                      <a:pt x="452" y="393"/>
                      <a:pt x="452" y="393"/>
                      <a:pt x="452" y="393"/>
                    </a:cubicBezTo>
                    <a:close/>
                    <a:moveTo>
                      <a:pt x="612" y="270"/>
                    </a:moveTo>
                    <a:cubicBezTo>
                      <a:pt x="615" y="267"/>
                      <a:pt x="617" y="263"/>
                      <a:pt x="619" y="260"/>
                    </a:cubicBezTo>
                    <a:cubicBezTo>
                      <a:pt x="620" y="258"/>
                      <a:pt x="620" y="250"/>
                      <a:pt x="620" y="245"/>
                    </a:cubicBezTo>
                    <a:cubicBezTo>
                      <a:pt x="619" y="235"/>
                      <a:pt x="623" y="229"/>
                      <a:pt x="625" y="226"/>
                    </a:cubicBezTo>
                    <a:cubicBezTo>
                      <a:pt x="624" y="225"/>
                      <a:pt x="623" y="224"/>
                      <a:pt x="622" y="222"/>
                    </a:cubicBezTo>
                    <a:cubicBezTo>
                      <a:pt x="620" y="215"/>
                      <a:pt x="636" y="197"/>
                      <a:pt x="673" y="197"/>
                    </a:cubicBezTo>
                    <a:cubicBezTo>
                      <a:pt x="706" y="197"/>
                      <a:pt x="725" y="215"/>
                      <a:pt x="733" y="232"/>
                    </a:cubicBezTo>
                    <a:cubicBezTo>
                      <a:pt x="760" y="289"/>
                      <a:pt x="724" y="316"/>
                      <a:pt x="702" y="325"/>
                    </a:cubicBezTo>
                    <a:cubicBezTo>
                      <a:pt x="701" y="343"/>
                      <a:pt x="701" y="343"/>
                      <a:pt x="701" y="343"/>
                    </a:cubicBezTo>
                    <a:cubicBezTo>
                      <a:pt x="701" y="344"/>
                      <a:pt x="700" y="345"/>
                      <a:pt x="699" y="346"/>
                    </a:cubicBezTo>
                    <a:cubicBezTo>
                      <a:pt x="685" y="354"/>
                      <a:pt x="668" y="355"/>
                      <a:pt x="660" y="355"/>
                    </a:cubicBezTo>
                    <a:cubicBezTo>
                      <a:pt x="657" y="355"/>
                      <a:pt x="657" y="355"/>
                      <a:pt x="657" y="355"/>
                    </a:cubicBezTo>
                    <a:cubicBezTo>
                      <a:pt x="655" y="354"/>
                      <a:pt x="654" y="353"/>
                      <a:pt x="654" y="351"/>
                    </a:cubicBezTo>
                    <a:cubicBezTo>
                      <a:pt x="654" y="325"/>
                      <a:pt x="654" y="325"/>
                      <a:pt x="654" y="325"/>
                    </a:cubicBezTo>
                    <a:cubicBezTo>
                      <a:pt x="650" y="325"/>
                      <a:pt x="645" y="325"/>
                      <a:pt x="643" y="325"/>
                    </a:cubicBezTo>
                    <a:cubicBezTo>
                      <a:pt x="629" y="325"/>
                      <a:pt x="626" y="324"/>
                      <a:pt x="624" y="322"/>
                    </a:cubicBezTo>
                    <a:cubicBezTo>
                      <a:pt x="622" y="320"/>
                      <a:pt x="620" y="316"/>
                      <a:pt x="620" y="302"/>
                    </a:cubicBezTo>
                    <a:cubicBezTo>
                      <a:pt x="620" y="291"/>
                      <a:pt x="620" y="291"/>
                      <a:pt x="620" y="291"/>
                    </a:cubicBezTo>
                    <a:cubicBezTo>
                      <a:pt x="612" y="290"/>
                      <a:pt x="607" y="286"/>
                      <a:pt x="606" y="283"/>
                    </a:cubicBezTo>
                    <a:cubicBezTo>
                      <a:pt x="605" y="280"/>
                      <a:pt x="609" y="274"/>
                      <a:pt x="612" y="270"/>
                    </a:cubicBezTo>
                    <a:close/>
                    <a:moveTo>
                      <a:pt x="119" y="397"/>
                    </a:moveTo>
                    <a:cubicBezTo>
                      <a:pt x="161" y="397"/>
                      <a:pt x="196" y="376"/>
                      <a:pt x="218" y="345"/>
                    </a:cubicBezTo>
                    <a:cubicBezTo>
                      <a:pt x="332" y="411"/>
                      <a:pt x="332" y="411"/>
                      <a:pt x="332" y="411"/>
                    </a:cubicBezTo>
                    <a:cubicBezTo>
                      <a:pt x="333" y="412"/>
                      <a:pt x="335" y="413"/>
                      <a:pt x="337" y="413"/>
                    </a:cubicBezTo>
                    <a:cubicBezTo>
                      <a:pt x="340" y="413"/>
                      <a:pt x="344" y="411"/>
                      <a:pt x="346" y="408"/>
                    </a:cubicBezTo>
                    <a:cubicBezTo>
                      <a:pt x="346" y="407"/>
                      <a:pt x="346" y="407"/>
                      <a:pt x="346" y="407"/>
                    </a:cubicBezTo>
                    <a:cubicBezTo>
                      <a:pt x="351" y="398"/>
                      <a:pt x="359" y="390"/>
                      <a:pt x="368" y="385"/>
                    </a:cubicBezTo>
                    <a:cubicBezTo>
                      <a:pt x="373" y="382"/>
                      <a:pt x="375" y="376"/>
                      <a:pt x="372" y="371"/>
                    </a:cubicBezTo>
                    <a:cubicBezTo>
                      <a:pt x="369" y="366"/>
                      <a:pt x="363" y="365"/>
                      <a:pt x="358" y="368"/>
                    </a:cubicBezTo>
                    <a:cubicBezTo>
                      <a:pt x="349" y="373"/>
                      <a:pt x="340" y="380"/>
                      <a:pt x="334" y="389"/>
                    </a:cubicBezTo>
                    <a:cubicBezTo>
                      <a:pt x="228" y="327"/>
                      <a:pt x="228" y="327"/>
                      <a:pt x="228" y="327"/>
                    </a:cubicBezTo>
                    <a:cubicBezTo>
                      <a:pt x="236" y="312"/>
                      <a:pt x="239" y="295"/>
                      <a:pt x="239" y="276"/>
                    </a:cubicBezTo>
                    <a:cubicBezTo>
                      <a:pt x="239" y="210"/>
                      <a:pt x="186" y="155"/>
                      <a:pt x="119" y="155"/>
                    </a:cubicBezTo>
                    <a:cubicBezTo>
                      <a:pt x="53" y="155"/>
                      <a:pt x="0" y="210"/>
                      <a:pt x="0" y="276"/>
                    </a:cubicBezTo>
                    <a:cubicBezTo>
                      <a:pt x="0" y="343"/>
                      <a:pt x="53" y="397"/>
                      <a:pt x="119" y="397"/>
                    </a:cubicBezTo>
                    <a:close/>
                    <a:moveTo>
                      <a:pt x="58" y="233"/>
                    </a:moveTo>
                    <a:cubicBezTo>
                      <a:pt x="66" y="216"/>
                      <a:pt x="82" y="196"/>
                      <a:pt x="116" y="196"/>
                    </a:cubicBezTo>
                    <a:cubicBezTo>
                      <a:pt x="154" y="196"/>
                      <a:pt x="143" y="206"/>
                      <a:pt x="178" y="205"/>
                    </a:cubicBezTo>
                    <a:cubicBezTo>
                      <a:pt x="182" y="205"/>
                      <a:pt x="171" y="218"/>
                      <a:pt x="169" y="225"/>
                    </a:cubicBezTo>
                    <a:cubicBezTo>
                      <a:pt x="168" y="226"/>
                      <a:pt x="168" y="226"/>
                      <a:pt x="168" y="226"/>
                    </a:cubicBezTo>
                    <a:cubicBezTo>
                      <a:pt x="168" y="226"/>
                      <a:pt x="167" y="225"/>
                      <a:pt x="167" y="226"/>
                    </a:cubicBezTo>
                    <a:cubicBezTo>
                      <a:pt x="167" y="231"/>
                      <a:pt x="168" y="239"/>
                      <a:pt x="168" y="242"/>
                    </a:cubicBezTo>
                    <a:cubicBezTo>
                      <a:pt x="169" y="245"/>
                      <a:pt x="170" y="248"/>
                      <a:pt x="171" y="251"/>
                    </a:cubicBezTo>
                    <a:cubicBezTo>
                      <a:pt x="171" y="253"/>
                      <a:pt x="172" y="256"/>
                      <a:pt x="172" y="257"/>
                    </a:cubicBezTo>
                    <a:cubicBezTo>
                      <a:pt x="174" y="262"/>
                      <a:pt x="176" y="267"/>
                      <a:pt x="178" y="269"/>
                    </a:cubicBezTo>
                    <a:cubicBezTo>
                      <a:pt x="179" y="269"/>
                      <a:pt x="179" y="270"/>
                      <a:pt x="179" y="270"/>
                    </a:cubicBezTo>
                    <a:cubicBezTo>
                      <a:pt x="183" y="274"/>
                      <a:pt x="187" y="279"/>
                      <a:pt x="186" y="283"/>
                    </a:cubicBezTo>
                    <a:cubicBezTo>
                      <a:pt x="185" y="285"/>
                      <a:pt x="182" y="290"/>
                      <a:pt x="172" y="291"/>
                    </a:cubicBezTo>
                    <a:cubicBezTo>
                      <a:pt x="172" y="296"/>
                      <a:pt x="173" y="304"/>
                      <a:pt x="173" y="310"/>
                    </a:cubicBezTo>
                    <a:cubicBezTo>
                      <a:pt x="173" y="311"/>
                      <a:pt x="173" y="311"/>
                      <a:pt x="173" y="311"/>
                    </a:cubicBezTo>
                    <a:cubicBezTo>
                      <a:pt x="172" y="320"/>
                      <a:pt x="172" y="325"/>
                      <a:pt x="168" y="327"/>
                    </a:cubicBezTo>
                    <a:cubicBezTo>
                      <a:pt x="165" y="328"/>
                      <a:pt x="154" y="330"/>
                      <a:pt x="139" y="329"/>
                    </a:cubicBezTo>
                    <a:cubicBezTo>
                      <a:pt x="139" y="353"/>
                      <a:pt x="139" y="353"/>
                      <a:pt x="139" y="353"/>
                    </a:cubicBezTo>
                    <a:cubicBezTo>
                      <a:pt x="139" y="355"/>
                      <a:pt x="138" y="356"/>
                      <a:pt x="136" y="356"/>
                    </a:cubicBezTo>
                    <a:cubicBezTo>
                      <a:pt x="134" y="356"/>
                      <a:pt x="104" y="356"/>
                      <a:pt x="80" y="346"/>
                    </a:cubicBezTo>
                    <a:cubicBezTo>
                      <a:pt x="79" y="346"/>
                      <a:pt x="78" y="345"/>
                      <a:pt x="78" y="343"/>
                    </a:cubicBezTo>
                    <a:cubicBezTo>
                      <a:pt x="78" y="308"/>
                      <a:pt x="78" y="308"/>
                      <a:pt x="78" y="308"/>
                    </a:cubicBezTo>
                    <a:cubicBezTo>
                      <a:pt x="66" y="296"/>
                      <a:pt x="43" y="265"/>
                      <a:pt x="58" y="233"/>
                    </a:cubicBezTo>
                    <a:close/>
                    <a:moveTo>
                      <a:pt x="387" y="239"/>
                    </a:moveTo>
                    <a:cubicBezTo>
                      <a:pt x="387" y="366"/>
                      <a:pt x="387" y="366"/>
                      <a:pt x="387" y="366"/>
                    </a:cubicBezTo>
                    <a:cubicBezTo>
                      <a:pt x="387" y="372"/>
                      <a:pt x="391" y="376"/>
                      <a:pt x="397" y="376"/>
                    </a:cubicBezTo>
                    <a:cubicBezTo>
                      <a:pt x="406" y="376"/>
                      <a:pt x="415" y="378"/>
                      <a:pt x="423" y="382"/>
                    </a:cubicBezTo>
                    <a:cubicBezTo>
                      <a:pt x="424" y="383"/>
                      <a:pt x="426" y="383"/>
                      <a:pt x="428" y="383"/>
                    </a:cubicBezTo>
                    <a:cubicBezTo>
                      <a:pt x="431" y="383"/>
                      <a:pt x="435" y="381"/>
                      <a:pt x="437" y="378"/>
                    </a:cubicBezTo>
                    <a:cubicBezTo>
                      <a:pt x="439" y="373"/>
                      <a:pt x="437" y="367"/>
                      <a:pt x="432" y="364"/>
                    </a:cubicBezTo>
                    <a:cubicBezTo>
                      <a:pt x="424" y="360"/>
                      <a:pt x="416" y="357"/>
                      <a:pt x="407" y="356"/>
                    </a:cubicBezTo>
                    <a:cubicBezTo>
                      <a:pt x="407" y="239"/>
                      <a:pt x="407" y="239"/>
                      <a:pt x="407" y="239"/>
                    </a:cubicBezTo>
                    <a:cubicBezTo>
                      <a:pt x="469" y="234"/>
                      <a:pt x="517" y="183"/>
                      <a:pt x="517" y="120"/>
                    </a:cubicBezTo>
                    <a:cubicBezTo>
                      <a:pt x="517" y="53"/>
                      <a:pt x="463" y="0"/>
                      <a:pt x="397" y="0"/>
                    </a:cubicBezTo>
                    <a:cubicBezTo>
                      <a:pt x="331" y="0"/>
                      <a:pt x="277" y="53"/>
                      <a:pt x="277" y="120"/>
                    </a:cubicBezTo>
                    <a:cubicBezTo>
                      <a:pt x="277" y="183"/>
                      <a:pt x="325" y="234"/>
                      <a:pt x="387" y="239"/>
                    </a:cubicBezTo>
                    <a:close/>
                    <a:moveTo>
                      <a:pt x="335" y="77"/>
                    </a:moveTo>
                    <a:cubicBezTo>
                      <a:pt x="343" y="60"/>
                      <a:pt x="360" y="40"/>
                      <a:pt x="393" y="40"/>
                    </a:cubicBezTo>
                    <a:cubicBezTo>
                      <a:pt x="431" y="40"/>
                      <a:pt x="420" y="50"/>
                      <a:pt x="456" y="49"/>
                    </a:cubicBezTo>
                    <a:cubicBezTo>
                      <a:pt x="460" y="49"/>
                      <a:pt x="448" y="62"/>
                      <a:pt x="446" y="70"/>
                    </a:cubicBezTo>
                    <a:cubicBezTo>
                      <a:pt x="446" y="70"/>
                      <a:pt x="446" y="70"/>
                      <a:pt x="446" y="70"/>
                    </a:cubicBezTo>
                    <a:cubicBezTo>
                      <a:pt x="446" y="70"/>
                      <a:pt x="445" y="70"/>
                      <a:pt x="444" y="70"/>
                    </a:cubicBezTo>
                    <a:cubicBezTo>
                      <a:pt x="444" y="74"/>
                      <a:pt x="445" y="83"/>
                      <a:pt x="446" y="86"/>
                    </a:cubicBezTo>
                    <a:cubicBezTo>
                      <a:pt x="447" y="88"/>
                      <a:pt x="448" y="92"/>
                      <a:pt x="448" y="95"/>
                    </a:cubicBezTo>
                    <a:cubicBezTo>
                      <a:pt x="449" y="97"/>
                      <a:pt x="449" y="100"/>
                      <a:pt x="450" y="101"/>
                    </a:cubicBezTo>
                    <a:cubicBezTo>
                      <a:pt x="452" y="106"/>
                      <a:pt x="454" y="110"/>
                      <a:pt x="455" y="113"/>
                    </a:cubicBezTo>
                    <a:cubicBezTo>
                      <a:pt x="456" y="113"/>
                      <a:pt x="456" y="114"/>
                      <a:pt x="457" y="114"/>
                    </a:cubicBezTo>
                    <a:cubicBezTo>
                      <a:pt x="461" y="118"/>
                      <a:pt x="465" y="122"/>
                      <a:pt x="463" y="126"/>
                    </a:cubicBezTo>
                    <a:cubicBezTo>
                      <a:pt x="463" y="128"/>
                      <a:pt x="460" y="134"/>
                      <a:pt x="449" y="134"/>
                    </a:cubicBezTo>
                    <a:cubicBezTo>
                      <a:pt x="450" y="139"/>
                      <a:pt x="450" y="148"/>
                      <a:pt x="450" y="153"/>
                    </a:cubicBezTo>
                    <a:cubicBezTo>
                      <a:pt x="450" y="154"/>
                      <a:pt x="450" y="154"/>
                      <a:pt x="450" y="154"/>
                    </a:cubicBezTo>
                    <a:cubicBezTo>
                      <a:pt x="449" y="163"/>
                      <a:pt x="449" y="168"/>
                      <a:pt x="445" y="170"/>
                    </a:cubicBezTo>
                    <a:cubicBezTo>
                      <a:pt x="442" y="171"/>
                      <a:pt x="431" y="173"/>
                      <a:pt x="417" y="171"/>
                    </a:cubicBezTo>
                    <a:cubicBezTo>
                      <a:pt x="417" y="196"/>
                      <a:pt x="417" y="196"/>
                      <a:pt x="417" y="196"/>
                    </a:cubicBezTo>
                    <a:cubicBezTo>
                      <a:pt x="417" y="198"/>
                      <a:pt x="416" y="199"/>
                      <a:pt x="413" y="199"/>
                    </a:cubicBezTo>
                    <a:cubicBezTo>
                      <a:pt x="411" y="199"/>
                      <a:pt x="381" y="199"/>
                      <a:pt x="358" y="190"/>
                    </a:cubicBezTo>
                    <a:cubicBezTo>
                      <a:pt x="357" y="189"/>
                      <a:pt x="356" y="188"/>
                      <a:pt x="356" y="186"/>
                    </a:cubicBezTo>
                    <a:cubicBezTo>
                      <a:pt x="356" y="151"/>
                      <a:pt x="356" y="151"/>
                      <a:pt x="356" y="151"/>
                    </a:cubicBezTo>
                    <a:cubicBezTo>
                      <a:pt x="344" y="139"/>
                      <a:pt x="321" y="108"/>
                      <a:pt x="335" y="77"/>
                    </a:cubicBezTo>
                    <a:close/>
                    <a:moveTo>
                      <a:pt x="342" y="479"/>
                    </a:moveTo>
                    <a:cubicBezTo>
                      <a:pt x="346" y="476"/>
                      <a:pt x="348" y="471"/>
                      <a:pt x="346" y="466"/>
                    </a:cubicBezTo>
                    <a:cubicBezTo>
                      <a:pt x="346" y="465"/>
                      <a:pt x="346" y="465"/>
                      <a:pt x="346" y="464"/>
                    </a:cubicBezTo>
                    <a:cubicBezTo>
                      <a:pt x="340" y="455"/>
                      <a:pt x="338" y="445"/>
                      <a:pt x="338" y="435"/>
                    </a:cubicBezTo>
                    <a:cubicBezTo>
                      <a:pt x="338" y="430"/>
                      <a:pt x="333" y="425"/>
                      <a:pt x="328" y="425"/>
                    </a:cubicBezTo>
                    <a:cubicBezTo>
                      <a:pt x="322" y="425"/>
                      <a:pt x="318" y="430"/>
                      <a:pt x="318" y="435"/>
                    </a:cubicBezTo>
                    <a:cubicBezTo>
                      <a:pt x="318" y="446"/>
                      <a:pt x="320" y="456"/>
                      <a:pt x="324" y="466"/>
                    </a:cubicBezTo>
                    <a:cubicBezTo>
                      <a:pt x="218" y="526"/>
                      <a:pt x="218" y="526"/>
                      <a:pt x="218" y="526"/>
                    </a:cubicBezTo>
                    <a:cubicBezTo>
                      <a:pt x="196" y="495"/>
                      <a:pt x="161" y="475"/>
                      <a:pt x="119" y="475"/>
                    </a:cubicBezTo>
                    <a:cubicBezTo>
                      <a:pt x="53" y="475"/>
                      <a:pt x="0" y="528"/>
                      <a:pt x="0" y="594"/>
                    </a:cubicBezTo>
                    <a:cubicBezTo>
                      <a:pt x="0" y="661"/>
                      <a:pt x="53" y="714"/>
                      <a:pt x="119" y="714"/>
                    </a:cubicBezTo>
                    <a:cubicBezTo>
                      <a:pt x="186" y="714"/>
                      <a:pt x="239" y="661"/>
                      <a:pt x="239" y="594"/>
                    </a:cubicBezTo>
                    <a:cubicBezTo>
                      <a:pt x="239" y="576"/>
                      <a:pt x="236" y="559"/>
                      <a:pt x="228" y="544"/>
                    </a:cubicBezTo>
                    <a:cubicBezTo>
                      <a:pt x="342" y="479"/>
                      <a:pt x="342" y="479"/>
                      <a:pt x="342" y="479"/>
                    </a:cubicBezTo>
                    <a:close/>
                    <a:moveTo>
                      <a:pt x="188" y="602"/>
                    </a:moveTo>
                    <a:cubicBezTo>
                      <a:pt x="187" y="605"/>
                      <a:pt x="182" y="609"/>
                      <a:pt x="174" y="609"/>
                    </a:cubicBezTo>
                    <a:cubicBezTo>
                      <a:pt x="174" y="619"/>
                      <a:pt x="174" y="619"/>
                      <a:pt x="174" y="619"/>
                    </a:cubicBezTo>
                    <a:cubicBezTo>
                      <a:pt x="174" y="634"/>
                      <a:pt x="172" y="638"/>
                      <a:pt x="170" y="640"/>
                    </a:cubicBezTo>
                    <a:cubicBezTo>
                      <a:pt x="168" y="641"/>
                      <a:pt x="165" y="644"/>
                      <a:pt x="151" y="643"/>
                    </a:cubicBezTo>
                    <a:cubicBezTo>
                      <a:pt x="149" y="643"/>
                      <a:pt x="144" y="643"/>
                      <a:pt x="140" y="643"/>
                    </a:cubicBezTo>
                    <a:cubicBezTo>
                      <a:pt x="140" y="669"/>
                      <a:pt x="140" y="669"/>
                      <a:pt x="140" y="669"/>
                    </a:cubicBezTo>
                    <a:cubicBezTo>
                      <a:pt x="140" y="671"/>
                      <a:pt x="139" y="672"/>
                      <a:pt x="137" y="672"/>
                    </a:cubicBezTo>
                    <a:cubicBezTo>
                      <a:pt x="137" y="672"/>
                      <a:pt x="136" y="673"/>
                      <a:pt x="134" y="673"/>
                    </a:cubicBezTo>
                    <a:cubicBezTo>
                      <a:pt x="126" y="673"/>
                      <a:pt x="109" y="671"/>
                      <a:pt x="95" y="663"/>
                    </a:cubicBezTo>
                    <a:cubicBezTo>
                      <a:pt x="94" y="663"/>
                      <a:pt x="93" y="662"/>
                      <a:pt x="93" y="660"/>
                    </a:cubicBezTo>
                    <a:cubicBezTo>
                      <a:pt x="92" y="643"/>
                      <a:pt x="92" y="643"/>
                      <a:pt x="92" y="643"/>
                    </a:cubicBezTo>
                    <a:cubicBezTo>
                      <a:pt x="70" y="634"/>
                      <a:pt x="34" y="607"/>
                      <a:pt x="61" y="551"/>
                    </a:cubicBezTo>
                    <a:cubicBezTo>
                      <a:pt x="69" y="534"/>
                      <a:pt x="88" y="517"/>
                      <a:pt x="121" y="517"/>
                    </a:cubicBezTo>
                    <a:cubicBezTo>
                      <a:pt x="158" y="517"/>
                      <a:pt x="174" y="534"/>
                      <a:pt x="172" y="541"/>
                    </a:cubicBezTo>
                    <a:cubicBezTo>
                      <a:pt x="171" y="543"/>
                      <a:pt x="170" y="544"/>
                      <a:pt x="169" y="545"/>
                    </a:cubicBezTo>
                    <a:cubicBezTo>
                      <a:pt x="171" y="548"/>
                      <a:pt x="175" y="554"/>
                      <a:pt x="174" y="563"/>
                    </a:cubicBezTo>
                    <a:cubicBezTo>
                      <a:pt x="174" y="568"/>
                      <a:pt x="174" y="577"/>
                      <a:pt x="175" y="578"/>
                    </a:cubicBezTo>
                    <a:cubicBezTo>
                      <a:pt x="177" y="581"/>
                      <a:pt x="179" y="586"/>
                      <a:pt x="182" y="589"/>
                    </a:cubicBezTo>
                    <a:cubicBezTo>
                      <a:pt x="185" y="592"/>
                      <a:pt x="189" y="598"/>
                      <a:pt x="188" y="602"/>
                    </a:cubicBezTo>
                    <a:close/>
                    <a:moveTo>
                      <a:pt x="675" y="475"/>
                    </a:moveTo>
                    <a:cubicBezTo>
                      <a:pt x="633" y="475"/>
                      <a:pt x="598" y="495"/>
                      <a:pt x="576" y="526"/>
                    </a:cubicBezTo>
                    <a:cubicBezTo>
                      <a:pt x="462" y="461"/>
                      <a:pt x="462" y="461"/>
                      <a:pt x="462" y="461"/>
                    </a:cubicBezTo>
                    <a:cubicBezTo>
                      <a:pt x="457" y="458"/>
                      <a:pt x="451" y="460"/>
                      <a:pt x="448" y="464"/>
                    </a:cubicBezTo>
                    <a:cubicBezTo>
                      <a:pt x="448" y="465"/>
                      <a:pt x="448" y="465"/>
                      <a:pt x="448" y="465"/>
                    </a:cubicBezTo>
                    <a:cubicBezTo>
                      <a:pt x="443" y="473"/>
                      <a:pt x="436" y="480"/>
                      <a:pt x="429" y="485"/>
                    </a:cubicBezTo>
                    <a:cubicBezTo>
                      <a:pt x="423" y="488"/>
                      <a:pt x="422" y="494"/>
                      <a:pt x="425" y="499"/>
                    </a:cubicBezTo>
                    <a:cubicBezTo>
                      <a:pt x="428" y="504"/>
                      <a:pt x="435" y="506"/>
                      <a:pt x="439" y="502"/>
                    </a:cubicBezTo>
                    <a:cubicBezTo>
                      <a:pt x="447" y="497"/>
                      <a:pt x="454" y="491"/>
                      <a:pt x="460" y="483"/>
                    </a:cubicBezTo>
                    <a:cubicBezTo>
                      <a:pt x="566" y="544"/>
                      <a:pt x="566" y="544"/>
                      <a:pt x="566" y="544"/>
                    </a:cubicBezTo>
                    <a:cubicBezTo>
                      <a:pt x="558" y="559"/>
                      <a:pt x="555" y="576"/>
                      <a:pt x="555" y="594"/>
                    </a:cubicBezTo>
                    <a:cubicBezTo>
                      <a:pt x="555" y="661"/>
                      <a:pt x="608" y="714"/>
                      <a:pt x="675" y="714"/>
                    </a:cubicBezTo>
                    <a:cubicBezTo>
                      <a:pt x="741" y="714"/>
                      <a:pt x="794" y="661"/>
                      <a:pt x="794" y="594"/>
                    </a:cubicBezTo>
                    <a:cubicBezTo>
                      <a:pt x="794" y="528"/>
                      <a:pt x="741" y="475"/>
                      <a:pt x="675" y="475"/>
                    </a:cubicBezTo>
                    <a:close/>
                    <a:moveTo>
                      <a:pt x="716" y="626"/>
                    </a:moveTo>
                    <a:cubicBezTo>
                      <a:pt x="716" y="661"/>
                      <a:pt x="716" y="661"/>
                      <a:pt x="716" y="661"/>
                    </a:cubicBezTo>
                    <a:cubicBezTo>
                      <a:pt x="716" y="663"/>
                      <a:pt x="715" y="664"/>
                      <a:pt x="714" y="664"/>
                    </a:cubicBezTo>
                    <a:cubicBezTo>
                      <a:pt x="690" y="674"/>
                      <a:pt x="660" y="674"/>
                      <a:pt x="658" y="674"/>
                    </a:cubicBezTo>
                    <a:cubicBezTo>
                      <a:pt x="656" y="674"/>
                      <a:pt x="655" y="673"/>
                      <a:pt x="655" y="671"/>
                    </a:cubicBezTo>
                    <a:cubicBezTo>
                      <a:pt x="655" y="646"/>
                      <a:pt x="655" y="646"/>
                      <a:pt x="655" y="646"/>
                    </a:cubicBezTo>
                    <a:cubicBezTo>
                      <a:pt x="640" y="648"/>
                      <a:pt x="629" y="646"/>
                      <a:pt x="626" y="645"/>
                    </a:cubicBezTo>
                    <a:cubicBezTo>
                      <a:pt x="622" y="643"/>
                      <a:pt x="622" y="638"/>
                      <a:pt x="621" y="629"/>
                    </a:cubicBezTo>
                    <a:cubicBezTo>
                      <a:pt x="621" y="628"/>
                      <a:pt x="621" y="628"/>
                      <a:pt x="621" y="628"/>
                    </a:cubicBezTo>
                    <a:cubicBezTo>
                      <a:pt x="621" y="623"/>
                      <a:pt x="622" y="614"/>
                      <a:pt x="622" y="609"/>
                    </a:cubicBezTo>
                    <a:cubicBezTo>
                      <a:pt x="612" y="609"/>
                      <a:pt x="609" y="603"/>
                      <a:pt x="608" y="601"/>
                    </a:cubicBezTo>
                    <a:cubicBezTo>
                      <a:pt x="607" y="597"/>
                      <a:pt x="611" y="593"/>
                      <a:pt x="615" y="589"/>
                    </a:cubicBezTo>
                    <a:cubicBezTo>
                      <a:pt x="615" y="588"/>
                      <a:pt x="615" y="588"/>
                      <a:pt x="616" y="588"/>
                    </a:cubicBezTo>
                    <a:cubicBezTo>
                      <a:pt x="618" y="585"/>
                      <a:pt x="620" y="581"/>
                      <a:pt x="622" y="576"/>
                    </a:cubicBezTo>
                    <a:cubicBezTo>
                      <a:pt x="622" y="575"/>
                      <a:pt x="623" y="572"/>
                      <a:pt x="623" y="570"/>
                    </a:cubicBezTo>
                    <a:cubicBezTo>
                      <a:pt x="624" y="567"/>
                      <a:pt x="625" y="563"/>
                      <a:pt x="626" y="561"/>
                    </a:cubicBezTo>
                    <a:cubicBezTo>
                      <a:pt x="626" y="558"/>
                      <a:pt x="627" y="549"/>
                      <a:pt x="627" y="544"/>
                    </a:cubicBezTo>
                    <a:cubicBezTo>
                      <a:pt x="627" y="544"/>
                      <a:pt x="626" y="545"/>
                      <a:pt x="626" y="545"/>
                    </a:cubicBezTo>
                    <a:cubicBezTo>
                      <a:pt x="626" y="545"/>
                      <a:pt x="626" y="545"/>
                      <a:pt x="625" y="544"/>
                    </a:cubicBezTo>
                    <a:cubicBezTo>
                      <a:pt x="623" y="537"/>
                      <a:pt x="612" y="524"/>
                      <a:pt x="616" y="524"/>
                    </a:cubicBezTo>
                    <a:cubicBezTo>
                      <a:pt x="651" y="525"/>
                      <a:pt x="640" y="515"/>
                      <a:pt x="678" y="515"/>
                    </a:cubicBezTo>
                    <a:cubicBezTo>
                      <a:pt x="712" y="515"/>
                      <a:pt x="728" y="535"/>
                      <a:pt x="736" y="552"/>
                    </a:cubicBezTo>
                    <a:cubicBezTo>
                      <a:pt x="751" y="583"/>
                      <a:pt x="728" y="614"/>
                      <a:pt x="716" y="6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B63F5C0-910D-4848-93EE-F644DEBBB1A6}"/>
              </a:ext>
            </a:extLst>
          </p:cNvPr>
          <p:cNvGrpSpPr/>
          <p:nvPr/>
        </p:nvGrpSpPr>
        <p:grpSpPr>
          <a:xfrm>
            <a:off x="5836665" y="2594141"/>
            <a:ext cx="593658" cy="593658"/>
            <a:chOff x="7189757" y="2778586"/>
            <a:chExt cx="1222428" cy="1222428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0AB27286-65D3-4DCA-BDF2-ED4969454DB9}"/>
                </a:ext>
              </a:extLst>
            </p:cNvPr>
            <p:cNvSpPr/>
            <p:nvPr/>
          </p:nvSpPr>
          <p:spPr>
            <a:xfrm>
              <a:off x="7189757" y="2778586"/>
              <a:ext cx="1222428" cy="122242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95976EF-C870-4111-A8BF-4EA678795BA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324761" y="2913590"/>
              <a:ext cx="952420" cy="952420"/>
              <a:chOff x="7324951" y="3200401"/>
              <a:chExt cx="457200" cy="457200"/>
            </a:xfrm>
          </p:grpSpPr>
          <p:sp>
            <p:nvSpPr>
              <p:cNvPr id="72" name="AutoShape 3">
                <a:extLst>
                  <a:ext uri="{FF2B5EF4-FFF2-40B4-BE49-F238E27FC236}">
                    <a16:creationId xmlns:a16="http://schemas.microsoft.com/office/drawing/2014/main" id="{8ED53A30-1BB0-4DF3-A249-8A7E8934891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324951" y="3200401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5">
                <a:extLst>
                  <a:ext uri="{FF2B5EF4-FFF2-40B4-BE49-F238E27FC236}">
                    <a16:creationId xmlns:a16="http://schemas.microsoft.com/office/drawing/2014/main" id="{9CCEA4AB-3A80-4A84-9FA4-A2CA5ADE03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2468" y="3264093"/>
                <a:ext cx="402744" cy="353291"/>
              </a:xfrm>
              <a:custGeom>
                <a:avLst/>
                <a:gdLst>
                  <a:gd name="T0" fmla="*/ 264 w 880"/>
                  <a:gd name="T1" fmla="*/ 212 h 772"/>
                  <a:gd name="T2" fmla="*/ 117 w 880"/>
                  <a:gd name="T3" fmla="*/ 227 h 772"/>
                  <a:gd name="T4" fmla="*/ 131 w 880"/>
                  <a:gd name="T5" fmla="*/ 376 h 772"/>
                  <a:gd name="T6" fmla="*/ 279 w 880"/>
                  <a:gd name="T7" fmla="*/ 362 h 772"/>
                  <a:gd name="T8" fmla="*/ 306 w 880"/>
                  <a:gd name="T9" fmla="*/ 209 h 772"/>
                  <a:gd name="T10" fmla="*/ 285 w 880"/>
                  <a:gd name="T11" fmla="*/ 190 h 772"/>
                  <a:gd name="T12" fmla="*/ 145 w 880"/>
                  <a:gd name="T13" fmla="*/ 348 h 772"/>
                  <a:gd name="T14" fmla="*/ 239 w 880"/>
                  <a:gd name="T15" fmla="*/ 241 h 772"/>
                  <a:gd name="T16" fmla="*/ 186 w 880"/>
                  <a:gd name="T17" fmla="*/ 266 h 772"/>
                  <a:gd name="T18" fmla="*/ 163 w 880"/>
                  <a:gd name="T19" fmla="*/ 283 h 772"/>
                  <a:gd name="T20" fmla="*/ 197 w 880"/>
                  <a:gd name="T21" fmla="*/ 321 h 772"/>
                  <a:gd name="T22" fmla="*/ 208 w 880"/>
                  <a:gd name="T23" fmla="*/ 317 h 772"/>
                  <a:gd name="T24" fmla="*/ 251 w 880"/>
                  <a:gd name="T25" fmla="*/ 348 h 772"/>
                  <a:gd name="T26" fmla="*/ 22 w 880"/>
                  <a:gd name="T27" fmla="*/ 0 h 772"/>
                  <a:gd name="T28" fmla="*/ 0 w 880"/>
                  <a:gd name="T29" fmla="*/ 621 h 772"/>
                  <a:gd name="T30" fmla="*/ 337 w 880"/>
                  <a:gd name="T31" fmla="*/ 643 h 772"/>
                  <a:gd name="T32" fmla="*/ 276 w 880"/>
                  <a:gd name="T33" fmla="*/ 728 h 772"/>
                  <a:gd name="T34" fmla="*/ 276 w 880"/>
                  <a:gd name="T35" fmla="*/ 772 h 772"/>
                  <a:gd name="T36" fmla="*/ 626 w 880"/>
                  <a:gd name="T37" fmla="*/ 750 h 772"/>
                  <a:gd name="T38" fmla="*/ 543 w 880"/>
                  <a:gd name="T39" fmla="*/ 728 h 772"/>
                  <a:gd name="T40" fmla="*/ 858 w 880"/>
                  <a:gd name="T41" fmla="*/ 643 h 772"/>
                  <a:gd name="T42" fmla="*/ 880 w 880"/>
                  <a:gd name="T43" fmla="*/ 22 h 772"/>
                  <a:gd name="T44" fmla="*/ 440 w 880"/>
                  <a:gd name="T45" fmla="*/ 600 h 772"/>
                  <a:gd name="T46" fmla="*/ 440 w 880"/>
                  <a:gd name="T47" fmla="*/ 529 h 772"/>
                  <a:gd name="T48" fmla="*/ 440 w 880"/>
                  <a:gd name="T49" fmla="*/ 600 h 772"/>
                  <a:gd name="T50" fmla="*/ 810 w 880"/>
                  <a:gd name="T51" fmla="*/ 500 h 772"/>
                  <a:gd name="T52" fmla="*/ 60 w 880"/>
                  <a:gd name="T53" fmla="*/ 490 h 772"/>
                  <a:gd name="T54" fmla="*/ 70 w 880"/>
                  <a:gd name="T55" fmla="*/ 62 h 772"/>
                  <a:gd name="T56" fmla="*/ 820 w 880"/>
                  <a:gd name="T57" fmla="*/ 72 h 772"/>
                  <a:gd name="T58" fmla="*/ 767 w 880"/>
                  <a:gd name="T59" fmla="*/ 246 h 772"/>
                  <a:gd name="T60" fmla="*/ 371 w 880"/>
                  <a:gd name="T61" fmla="*/ 268 h 772"/>
                  <a:gd name="T62" fmla="*/ 371 w 880"/>
                  <a:gd name="T63" fmla="*/ 224 h 772"/>
                  <a:gd name="T64" fmla="*/ 767 w 880"/>
                  <a:gd name="T65" fmla="*/ 246 h 772"/>
                  <a:gd name="T66" fmla="*/ 745 w 880"/>
                  <a:gd name="T67" fmla="*/ 364 h 772"/>
                  <a:gd name="T68" fmla="*/ 349 w 880"/>
                  <a:gd name="T69" fmla="*/ 342 h 772"/>
                  <a:gd name="T70" fmla="*/ 745 w 880"/>
                  <a:gd name="T71" fmla="*/ 320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80" h="772">
                    <a:moveTo>
                      <a:pt x="285" y="190"/>
                    </a:moveTo>
                    <a:cubicBezTo>
                      <a:pt x="264" y="212"/>
                      <a:pt x="264" y="212"/>
                      <a:pt x="264" y="212"/>
                    </a:cubicBezTo>
                    <a:cubicBezTo>
                      <a:pt x="131" y="212"/>
                      <a:pt x="131" y="212"/>
                      <a:pt x="131" y="212"/>
                    </a:cubicBezTo>
                    <a:cubicBezTo>
                      <a:pt x="123" y="212"/>
                      <a:pt x="117" y="219"/>
                      <a:pt x="117" y="227"/>
                    </a:cubicBezTo>
                    <a:cubicBezTo>
                      <a:pt x="117" y="362"/>
                      <a:pt x="117" y="362"/>
                      <a:pt x="117" y="362"/>
                    </a:cubicBezTo>
                    <a:cubicBezTo>
                      <a:pt x="117" y="369"/>
                      <a:pt x="123" y="376"/>
                      <a:pt x="131" y="376"/>
                    </a:cubicBezTo>
                    <a:cubicBezTo>
                      <a:pt x="265" y="376"/>
                      <a:pt x="265" y="376"/>
                      <a:pt x="265" y="376"/>
                    </a:cubicBezTo>
                    <a:cubicBezTo>
                      <a:pt x="273" y="376"/>
                      <a:pt x="279" y="369"/>
                      <a:pt x="279" y="362"/>
                    </a:cubicBezTo>
                    <a:cubicBezTo>
                      <a:pt x="279" y="238"/>
                      <a:pt x="279" y="238"/>
                      <a:pt x="279" y="238"/>
                    </a:cubicBezTo>
                    <a:cubicBezTo>
                      <a:pt x="306" y="209"/>
                      <a:pt x="306" y="209"/>
                      <a:pt x="306" y="209"/>
                    </a:cubicBezTo>
                    <a:cubicBezTo>
                      <a:pt x="311" y="203"/>
                      <a:pt x="310" y="194"/>
                      <a:pt x="305" y="189"/>
                    </a:cubicBezTo>
                    <a:cubicBezTo>
                      <a:pt x="299" y="184"/>
                      <a:pt x="290" y="185"/>
                      <a:pt x="285" y="190"/>
                    </a:cubicBezTo>
                    <a:close/>
                    <a:moveTo>
                      <a:pt x="251" y="348"/>
                    </a:moveTo>
                    <a:cubicBezTo>
                      <a:pt x="251" y="348"/>
                      <a:pt x="251" y="348"/>
                      <a:pt x="145" y="348"/>
                    </a:cubicBezTo>
                    <a:cubicBezTo>
                      <a:pt x="145" y="348"/>
                      <a:pt x="145" y="348"/>
                      <a:pt x="145" y="241"/>
                    </a:cubicBezTo>
                    <a:cubicBezTo>
                      <a:pt x="145" y="241"/>
                      <a:pt x="145" y="241"/>
                      <a:pt x="239" y="241"/>
                    </a:cubicBezTo>
                    <a:cubicBezTo>
                      <a:pt x="239" y="241"/>
                      <a:pt x="239" y="241"/>
                      <a:pt x="199" y="285"/>
                    </a:cubicBezTo>
                    <a:cubicBezTo>
                      <a:pt x="199" y="285"/>
                      <a:pt x="199" y="285"/>
                      <a:pt x="186" y="266"/>
                    </a:cubicBezTo>
                    <a:cubicBezTo>
                      <a:pt x="182" y="260"/>
                      <a:pt x="173" y="259"/>
                      <a:pt x="167" y="263"/>
                    </a:cubicBezTo>
                    <a:cubicBezTo>
                      <a:pt x="160" y="268"/>
                      <a:pt x="159" y="276"/>
                      <a:pt x="163" y="283"/>
                    </a:cubicBezTo>
                    <a:cubicBezTo>
                      <a:pt x="163" y="283"/>
                      <a:pt x="163" y="283"/>
                      <a:pt x="186" y="315"/>
                    </a:cubicBezTo>
                    <a:cubicBezTo>
                      <a:pt x="189" y="319"/>
                      <a:pt x="192" y="321"/>
                      <a:pt x="197" y="321"/>
                    </a:cubicBezTo>
                    <a:cubicBezTo>
                      <a:pt x="197" y="321"/>
                      <a:pt x="198" y="321"/>
                      <a:pt x="198" y="321"/>
                    </a:cubicBezTo>
                    <a:cubicBezTo>
                      <a:pt x="202" y="321"/>
                      <a:pt x="206" y="319"/>
                      <a:pt x="208" y="317"/>
                    </a:cubicBezTo>
                    <a:cubicBezTo>
                      <a:pt x="208" y="317"/>
                      <a:pt x="208" y="317"/>
                      <a:pt x="251" y="269"/>
                    </a:cubicBezTo>
                    <a:cubicBezTo>
                      <a:pt x="251" y="269"/>
                      <a:pt x="251" y="269"/>
                      <a:pt x="251" y="348"/>
                    </a:cubicBezTo>
                    <a:close/>
                    <a:moveTo>
                      <a:pt x="858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621"/>
                      <a:pt x="0" y="621"/>
                      <a:pt x="0" y="621"/>
                    </a:cubicBezTo>
                    <a:cubicBezTo>
                      <a:pt x="0" y="633"/>
                      <a:pt x="10" y="643"/>
                      <a:pt x="22" y="643"/>
                    </a:cubicBezTo>
                    <a:cubicBezTo>
                      <a:pt x="337" y="643"/>
                      <a:pt x="337" y="643"/>
                      <a:pt x="337" y="643"/>
                    </a:cubicBezTo>
                    <a:cubicBezTo>
                      <a:pt x="337" y="728"/>
                      <a:pt x="337" y="728"/>
                      <a:pt x="337" y="728"/>
                    </a:cubicBezTo>
                    <a:cubicBezTo>
                      <a:pt x="276" y="728"/>
                      <a:pt x="276" y="728"/>
                      <a:pt x="276" y="728"/>
                    </a:cubicBezTo>
                    <a:cubicBezTo>
                      <a:pt x="264" y="728"/>
                      <a:pt x="254" y="737"/>
                      <a:pt x="254" y="750"/>
                    </a:cubicBezTo>
                    <a:cubicBezTo>
                      <a:pt x="254" y="762"/>
                      <a:pt x="264" y="772"/>
                      <a:pt x="276" y="772"/>
                    </a:cubicBezTo>
                    <a:cubicBezTo>
                      <a:pt x="604" y="772"/>
                      <a:pt x="604" y="772"/>
                      <a:pt x="604" y="772"/>
                    </a:cubicBezTo>
                    <a:cubicBezTo>
                      <a:pt x="616" y="772"/>
                      <a:pt x="626" y="762"/>
                      <a:pt x="626" y="750"/>
                    </a:cubicBezTo>
                    <a:cubicBezTo>
                      <a:pt x="626" y="737"/>
                      <a:pt x="616" y="728"/>
                      <a:pt x="604" y="728"/>
                    </a:cubicBezTo>
                    <a:cubicBezTo>
                      <a:pt x="543" y="728"/>
                      <a:pt x="543" y="728"/>
                      <a:pt x="543" y="728"/>
                    </a:cubicBezTo>
                    <a:cubicBezTo>
                      <a:pt x="543" y="643"/>
                      <a:pt x="543" y="643"/>
                      <a:pt x="543" y="643"/>
                    </a:cubicBezTo>
                    <a:cubicBezTo>
                      <a:pt x="858" y="643"/>
                      <a:pt x="858" y="643"/>
                      <a:pt x="858" y="643"/>
                    </a:cubicBezTo>
                    <a:cubicBezTo>
                      <a:pt x="870" y="643"/>
                      <a:pt x="880" y="633"/>
                      <a:pt x="880" y="621"/>
                    </a:cubicBezTo>
                    <a:cubicBezTo>
                      <a:pt x="880" y="22"/>
                      <a:pt x="880" y="22"/>
                      <a:pt x="880" y="22"/>
                    </a:cubicBezTo>
                    <a:cubicBezTo>
                      <a:pt x="880" y="10"/>
                      <a:pt x="870" y="0"/>
                      <a:pt x="858" y="0"/>
                    </a:cubicBezTo>
                    <a:close/>
                    <a:moveTo>
                      <a:pt x="440" y="600"/>
                    </a:moveTo>
                    <a:cubicBezTo>
                      <a:pt x="421" y="600"/>
                      <a:pt x="405" y="584"/>
                      <a:pt x="405" y="565"/>
                    </a:cubicBezTo>
                    <a:cubicBezTo>
                      <a:pt x="405" y="545"/>
                      <a:pt x="421" y="529"/>
                      <a:pt x="440" y="529"/>
                    </a:cubicBezTo>
                    <a:cubicBezTo>
                      <a:pt x="459" y="529"/>
                      <a:pt x="475" y="545"/>
                      <a:pt x="475" y="565"/>
                    </a:cubicBezTo>
                    <a:cubicBezTo>
                      <a:pt x="475" y="584"/>
                      <a:pt x="459" y="600"/>
                      <a:pt x="440" y="600"/>
                    </a:cubicBezTo>
                    <a:close/>
                    <a:moveTo>
                      <a:pt x="820" y="490"/>
                    </a:moveTo>
                    <a:cubicBezTo>
                      <a:pt x="820" y="495"/>
                      <a:pt x="816" y="500"/>
                      <a:pt x="810" y="500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4" y="500"/>
                      <a:pt x="60" y="495"/>
                      <a:pt x="60" y="490"/>
                    </a:cubicBezTo>
                    <a:cubicBezTo>
                      <a:pt x="60" y="72"/>
                      <a:pt x="60" y="72"/>
                      <a:pt x="60" y="72"/>
                    </a:cubicBezTo>
                    <a:cubicBezTo>
                      <a:pt x="60" y="67"/>
                      <a:pt x="64" y="62"/>
                      <a:pt x="70" y="62"/>
                    </a:cubicBezTo>
                    <a:cubicBezTo>
                      <a:pt x="810" y="62"/>
                      <a:pt x="810" y="62"/>
                      <a:pt x="810" y="62"/>
                    </a:cubicBezTo>
                    <a:cubicBezTo>
                      <a:pt x="816" y="62"/>
                      <a:pt x="820" y="67"/>
                      <a:pt x="820" y="72"/>
                    </a:cubicBezTo>
                    <a:lnTo>
                      <a:pt x="820" y="490"/>
                    </a:lnTo>
                    <a:close/>
                    <a:moveTo>
                      <a:pt x="767" y="246"/>
                    </a:moveTo>
                    <a:cubicBezTo>
                      <a:pt x="767" y="258"/>
                      <a:pt x="757" y="268"/>
                      <a:pt x="745" y="268"/>
                    </a:cubicBezTo>
                    <a:cubicBezTo>
                      <a:pt x="371" y="268"/>
                      <a:pt x="371" y="268"/>
                      <a:pt x="371" y="268"/>
                    </a:cubicBezTo>
                    <a:cubicBezTo>
                      <a:pt x="359" y="268"/>
                      <a:pt x="349" y="258"/>
                      <a:pt x="349" y="246"/>
                    </a:cubicBezTo>
                    <a:cubicBezTo>
                      <a:pt x="349" y="234"/>
                      <a:pt x="359" y="224"/>
                      <a:pt x="371" y="224"/>
                    </a:cubicBezTo>
                    <a:cubicBezTo>
                      <a:pt x="745" y="224"/>
                      <a:pt x="745" y="224"/>
                      <a:pt x="745" y="224"/>
                    </a:cubicBezTo>
                    <a:cubicBezTo>
                      <a:pt x="757" y="224"/>
                      <a:pt x="767" y="234"/>
                      <a:pt x="767" y="246"/>
                    </a:cubicBezTo>
                    <a:close/>
                    <a:moveTo>
                      <a:pt x="767" y="342"/>
                    </a:moveTo>
                    <a:cubicBezTo>
                      <a:pt x="767" y="354"/>
                      <a:pt x="757" y="364"/>
                      <a:pt x="745" y="364"/>
                    </a:cubicBezTo>
                    <a:cubicBezTo>
                      <a:pt x="371" y="364"/>
                      <a:pt x="371" y="364"/>
                      <a:pt x="371" y="364"/>
                    </a:cubicBezTo>
                    <a:cubicBezTo>
                      <a:pt x="359" y="364"/>
                      <a:pt x="349" y="354"/>
                      <a:pt x="349" y="342"/>
                    </a:cubicBezTo>
                    <a:cubicBezTo>
                      <a:pt x="349" y="330"/>
                      <a:pt x="359" y="320"/>
                      <a:pt x="371" y="320"/>
                    </a:cubicBezTo>
                    <a:cubicBezTo>
                      <a:pt x="745" y="320"/>
                      <a:pt x="745" y="320"/>
                      <a:pt x="745" y="320"/>
                    </a:cubicBezTo>
                    <a:cubicBezTo>
                      <a:pt x="757" y="320"/>
                      <a:pt x="767" y="330"/>
                      <a:pt x="767" y="34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1FBAFB8-61A1-4969-9F89-6E7AC3BE4DA4}"/>
              </a:ext>
            </a:extLst>
          </p:cNvPr>
          <p:cNvGrpSpPr/>
          <p:nvPr/>
        </p:nvGrpSpPr>
        <p:grpSpPr>
          <a:xfrm>
            <a:off x="5112820" y="1070035"/>
            <a:ext cx="593658" cy="593658"/>
            <a:chOff x="2827801" y="998133"/>
            <a:chExt cx="593658" cy="593658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34642CE6-C9C4-4488-B98A-EB077D529B4F}"/>
                </a:ext>
              </a:extLst>
            </p:cNvPr>
            <p:cNvSpPr/>
            <p:nvPr/>
          </p:nvSpPr>
          <p:spPr>
            <a:xfrm>
              <a:off x="2827801" y="998133"/>
              <a:ext cx="593658" cy="59365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pic>
          <p:nvPicPr>
            <p:cNvPr id="83" name="Picture 12">
              <a:extLst>
                <a:ext uri="{FF2B5EF4-FFF2-40B4-BE49-F238E27FC236}">
                  <a16:creationId xmlns:a16="http://schemas.microsoft.com/office/drawing/2014/main" id="{FBFF8006-A8B7-4F30-998C-CF52B7E16B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2630" y="1232754"/>
              <a:ext cx="504000" cy="1244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9" name="Picture 88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3E5F5188-1AB1-4CA4-86C6-D68F4DB3D3FC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12500" b="12500"/>
          <a:stretch/>
        </p:blipFill>
        <p:spPr>
          <a:xfrm>
            <a:off x="1815647" y="1747517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91" name="Picture 90" descr="A person with his arms crossed&#10;&#10;Description automatically generated with medium confidence">
            <a:extLst>
              <a:ext uri="{FF2B5EF4-FFF2-40B4-BE49-F238E27FC236}">
                <a16:creationId xmlns:a16="http://schemas.microsoft.com/office/drawing/2014/main" id="{8CC97D7D-5C05-4CC3-A5F9-4D5C35F90107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-684" t="7347" r="684" b="25841"/>
          <a:stretch/>
        </p:blipFill>
        <p:spPr>
          <a:xfrm>
            <a:off x="792809" y="2302799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EBD5F286-6707-407A-AB1C-FFF99DA85D98}"/>
              </a:ext>
            </a:extLst>
          </p:cNvPr>
          <p:cNvGrpSpPr/>
          <p:nvPr/>
        </p:nvGrpSpPr>
        <p:grpSpPr>
          <a:xfrm>
            <a:off x="8302755" y="2887245"/>
            <a:ext cx="593658" cy="593658"/>
            <a:chOff x="-2067998" y="321299"/>
            <a:chExt cx="593658" cy="593658"/>
          </a:xfrm>
        </p:grpSpPr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E1F31891-E17B-45B9-ADC6-72FEB621D2D0}"/>
                </a:ext>
              </a:extLst>
            </p:cNvPr>
            <p:cNvSpPr/>
            <p:nvPr/>
          </p:nvSpPr>
          <p:spPr>
            <a:xfrm>
              <a:off x="-2067998" y="321299"/>
              <a:ext cx="593658" cy="59365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1E6EE03F-DE1C-4969-95D0-32B1EE84E96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-1999769" y="389528"/>
              <a:ext cx="457200" cy="457200"/>
              <a:chOff x="4210050" y="3194050"/>
              <a:chExt cx="457200" cy="457200"/>
            </a:xfrm>
          </p:grpSpPr>
          <p:sp>
            <p:nvSpPr>
              <p:cNvPr id="94" name="AutoShape 17">
                <a:extLst>
                  <a:ext uri="{FF2B5EF4-FFF2-40B4-BE49-F238E27FC236}">
                    <a16:creationId xmlns:a16="http://schemas.microsoft.com/office/drawing/2014/main" id="{63D54F5A-9FFF-4049-886D-A5DBE40ECA9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4210050" y="3194050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19">
                <a:extLst>
                  <a:ext uri="{FF2B5EF4-FFF2-40B4-BE49-F238E27FC236}">
                    <a16:creationId xmlns:a16="http://schemas.microsoft.com/office/drawing/2014/main" id="{0C13BDE4-CF89-4976-A9C9-8DD9677A60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7038" y="3221038"/>
                <a:ext cx="404813" cy="403225"/>
              </a:xfrm>
              <a:custGeom>
                <a:avLst/>
                <a:gdLst>
                  <a:gd name="T0" fmla="*/ 402 w 883"/>
                  <a:gd name="T1" fmla="*/ 228 h 880"/>
                  <a:gd name="T2" fmla="*/ 471 w 883"/>
                  <a:gd name="T3" fmla="*/ 298 h 880"/>
                  <a:gd name="T4" fmla="*/ 410 w 883"/>
                  <a:gd name="T5" fmla="*/ 281 h 880"/>
                  <a:gd name="T6" fmla="*/ 398 w 883"/>
                  <a:gd name="T7" fmla="*/ 202 h 880"/>
                  <a:gd name="T8" fmla="*/ 470 w 883"/>
                  <a:gd name="T9" fmla="*/ 191 h 880"/>
                  <a:gd name="T10" fmla="*/ 508 w 883"/>
                  <a:gd name="T11" fmla="*/ 194 h 880"/>
                  <a:gd name="T12" fmla="*/ 531 w 883"/>
                  <a:gd name="T13" fmla="*/ 180 h 880"/>
                  <a:gd name="T14" fmla="*/ 179 w 883"/>
                  <a:gd name="T15" fmla="*/ 350 h 880"/>
                  <a:gd name="T16" fmla="*/ 236 w 883"/>
                  <a:gd name="T17" fmla="*/ 480 h 880"/>
                  <a:gd name="T18" fmla="*/ 248 w 883"/>
                  <a:gd name="T19" fmla="*/ 447 h 880"/>
                  <a:gd name="T20" fmla="*/ 245 w 883"/>
                  <a:gd name="T21" fmla="*/ 320 h 880"/>
                  <a:gd name="T22" fmla="*/ 76 w 883"/>
                  <a:gd name="T23" fmla="*/ 605 h 880"/>
                  <a:gd name="T24" fmla="*/ 268 w 883"/>
                  <a:gd name="T25" fmla="*/ 361 h 880"/>
                  <a:gd name="T26" fmla="*/ 215 w 883"/>
                  <a:gd name="T27" fmla="*/ 501 h 880"/>
                  <a:gd name="T28" fmla="*/ 752 w 883"/>
                  <a:gd name="T29" fmla="*/ 563 h 880"/>
                  <a:gd name="T30" fmla="*/ 700 w 883"/>
                  <a:gd name="T31" fmla="*/ 475 h 880"/>
                  <a:gd name="T32" fmla="*/ 505 w 883"/>
                  <a:gd name="T33" fmla="*/ 328 h 880"/>
                  <a:gd name="T34" fmla="*/ 469 w 883"/>
                  <a:gd name="T35" fmla="*/ 346 h 880"/>
                  <a:gd name="T36" fmla="*/ 457 w 883"/>
                  <a:gd name="T37" fmla="*/ 349 h 880"/>
                  <a:gd name="T38" fmla="*/ 443 w 883"/>
                  <a:gd name="T39" fmla="*/ 345 h 880"/>
                  <a:gd name="T40" fmla="*/ 402 w 883"/>
                  <a:gd name="T41" fmla="*/ 366 h 880"/>
                  <a:gd name="T42" fmla="*/ 354 w 883"/>
                  <a:gd name="T43" fmla="*/ 384 h 880"/>
                  <a:gd name="T44" fmla="*/ 339 w 883"/>
                  <a:gd name="T45" fmla="*/ 402 h 880"/>
                  <a:gd name="T46" fmla="*/ 273 w 883"/>
                  <a:gd name="T47" fmla="*/ 440 h 880"/>
                  <a:gd name="T48" fmla="*/ 482 w 883"/>
                  <a:gd name="T49" fmla="*/ 649 h 880"/>
                  <a:gd name="T50" fmla="*/ 434 w 883"/>
                  <a:gd name="T51" fmla="*/ 618 h 880"/>
                  <a:gd name="T52" fmla="*/ 316 w 883"/>
                  <a:gd name="T53" fmla="*/ 619 h 880"/>
                  <a:gd name="T54" fmla="*/ 483 w 883"/>
                  <a:gd name="T55" fmla="*/ 794 h 880"/>
                  <a:gd name="T56" fmla="*/ 611 w 883"/>
                  <a:gd name="T57" fmla="*/ 779 h 880"/>
                  <a:gd name="T58" fmla="*/ 376 w 883"/>
                  <a:gd name="T59" fmla="*/ 651 h 880"/>
                  <a:gd name="T60" fmla="*/ 418 w 883"/>
                  <a:gd name="T61" fmla="*/ 638 h 880"/>
                  <a:gd name="T62" fmla="*/ 485 w 883"/>
                  <a:gd name="T63" fmla="*/ 675 h 880"/>
                  <a:gd name="T64" fmla="*/ 494 w 883"/>
                  <a:gd name="T65" fmla="*/ 671 h 880"/>
                  <a:gd name="T66" fmla="*/ 505 w 883"/>
                  <a:gd name="T67" fmla="*/ 629 h 880"/>
                  <a:gd name="T68" fmla="*/ 384 w 883"/>
                  <a:gd name="T69" fmla="*/ 523 h 880"/>
                  <a:gd name="T70" fmla="*/ 299 w 883"/>
                  <a:gd name="T71" fmla="*/ 447 h 880"/>
                  <a:gd name="T72" fmla="*/ 304 w 883"/>
                  <a:gd name="T73" fmla="*/ 429 h 880"/>
                  <a:gd name="T74" fmla="*/ 319 w 883"/>
                  <a:gd name="T75" fmla="*/ 423 h 880"/>
                  <a:gd name="T76" fmla="*/ 444 w 883"/>
                  <a:gd name="T77" fmla="*/ 523 h 880"/>
                  <a:gd name="T78" fmla="*/ 489 w 883"/>
                  <a:gd name="T79" fmla="*/ 558 h 880"/>
                  <a:gd name="T80" fmla="*/ 501 w 883"/>
                  <a:gd name="T81" fmla="*/ 542 h 880"/>
                  <a:gd name="T82" fmla="*/ 436 w 883"/>
                  <a:gd name="T83" fmla="*/ 483 h 880"/>
                  <a:gd name="T84" fmla="*/ 368 w 883"/>
                  <a:gd name="T85" fmla="*/ 423 h 880"/>
                  <a:gd name="T86" fmla="*/ 391 w 883"/>
                  <a:gd name="T87" fmla="*/ 400 h 880"/>
                  <a:gd name="T88" fmla="*/ 521 w 883"/>
                  <a:gd name="T89" fmla="*/ 509 h 880"/>
                  <a:gd name="T90" fmla="*/ 544 w 883"/>
                  <a:gd name="T91" fmla="*/ 502 h 880"/>
                  <a:gd name="T92" fmla="*/ 428 w 883"/>
                  <a:gd name="T93" fmla="*/ 397 h 880"/>
                  <a:gd name="T94" fmla="*/ 424 w 883"/>
                  <a:gd name="T95" fmla="*/ 380 h 880"/>
                  <a:gd name="T96" fmla="*/ 428 w 883"/>
                  <a:gd name="T97" fmla="*/ 374 h 880"/>
                  <a:gd name="T98" fmla="*/ 447 w 883"/>
                  <a:gd name="T99" fmla="*/ 373 h 880"/>
                  <a:gd name="T100" fmla="*/ 569 w 883"/>
                  <a:gd name="T101" fmla="*/ 470 h 880"/>
                  <a:gd name="T102" fmla="*/ 584 w 883"/>
                  <a:gd name="T103" fmla="*/ 463 h 880"/>
                  <a:gd name="T104" fmla="*/ 583 w 883"/>
                  <a:gd name="T105" fmla="*/ 450 h 880"/>
                  <a:gd name="T106" fmla="*/ 489 w 883"/>
                  <a:gd name="T107" fmla="*/ 372 h 880"/>
                  <a:gd name="T108" fmla="*/ 493 w 883"/>
                  <a:gd name="T109" fmla="*/ 357 h 880"/>
                  <a:gd name="T110" fmla="*/ 532 w 883"/>
                  <a:gd name="T111" fmla="*/ 376 h 880"/>
                  <a:gd name="T112" fmla="*/ 809 w 883"/>
                  <a:gd name="T113" fmla="*/ 275 h 880"/>
                  <a:gd name="T114" fmla="*/ 728 w 883"/>
                  <a:gd name="T115" fmla="*/ 470 h 880"/>
                  <a:gd name="T116" fmla="*/ 618 w 883"/>
                  <a:gd name="T117" fmla="*/ 106 h 880"/>
                  <a:gd name="T118" fmla="*/ 6 w 883"/>
                  <a:gd name="T119" fmla="*/ 199 h 880"/>
                  <a:gd name="T120" fmla="*/ 88 w 883"/>
                  <a:gd name="T121" fmla="*/ 633 h 880"/>
                  <a:gd name="T122" fmla="*/ 265 w 883"/>
                  <a:gd name="T123" fmla="*/ 792 h 880"/>
                  <a:gd name="T124" fmla="*/ 634 w 883"/>
                  <a:gd name="T125" fmla="*/ 790 h 8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83" h="880">
                    <a:moveTo>
                      <a:pt x="558" y="245"/>
                    </a:moveTo>
                    <a:cubicBezTo>
                      <a:pt x="563" y="249"/>
                      <a:pt x="565" y="255"/>
                      <a:pt x="565" y="261"/>
                    </a:cubicBezTo>
                    <a:cubicBezTo>
                      <a:pt x="565" y="262"/>
                      <a:pt x="565" y="262"/>
                      <a:pt x="565" y="262"/>
                    </a:cubicBezTo>
                    <a:cubicBezTo>
                      <a:pt x="565" y="268"/>
                      <a:pt x="562" y="273"/>
                      <a:pt x="558" y="278"/>
                    </a:cubicBezTo>
                    <a:cubicBezTo>
                      <a:pt x="543" y="292"/>
                      <a:pt x="523" y="298"/>
                      <a:pt x="504" y="295"/>
                    </a:cubicBezTo>
                    <a:cubicBezTo>
                      <a:pt x="494" y="293"/>
                      <a:pt x="484" y="289"/>
                      <a:pt x="476" y="282"/>
                    </a:cubicBezTo>
                    <a:cubicBezTo>
                      <a:pt x="429" y="247"/>
                      <a:pt x="429" y="247"/>
                      <a:pt x="429" y="247"/>
                    </a:cubicBezTo>
                    <a:cubicBezTo>
                      <a:pt x="406" y="229"/>
                      <a:pt x="406" y="229"/>
                      <a:pt x="406" y="229"/>
                    </a:cubicBezTo>
                    <a:cubicBezTo>
                      <a:pt x="405" y="227"/>
                      <a:pt x="404" y="227"/>
                      <a:pt x="402" y="228"/>
                    </a:cubicBezTo>
                    <a:cubicBezTo>
                      <a:pt x="402" y="228"/>
                      <a:pt x="402" y="228"/>
                      <a:pt x="402" y="228"/>
                    </a:cubicBezTo>
                    <a:cubicBezTo>
                      <a:pt x="401" y="228"/>
                      <a:pt x="400" y="229"/>
                      <a:pt x="400" y="229"/>
                    </a:cubicBezTo>
                    <a:cubicBezTo>
                      <a:pt x="399" y="230"/>
                      <a:pt x="399" y="230"/>
                      <a:pt x="399" y="230"/>
                    </a:cubicBezTo>
                    <a:cubicBezTo>
                      <a:pt x="398" y="230"/>
                      <a:pt x="398" y="230"/>
                      <a:pt x="398" y="230"/>
                    </a:cubicBezTo>
                    <a:cubicBezTo>
                      <a:pt x="397" y="233"/>
                      <a:pt x="397" y="235"/>
                      <a:pt x="400" y="237"/>
                    </a:cubicBezTo>
                    <a:cubicBezTo>
                      <a:pt x="414" y="250"/>
                      <a:pt x="414" y="250"/>
                      <a:pt x="414" y="250"/>
                    </a:cubicBezTo>
                    <a:cubicBezTo>
                      <a:pt x="440" y="272"/>
                      <a:pt x="440" y="272"/>
                      <a:pt x="440" y="272"/>
                    </a:cubicBezTo>
                    <a:cubicBezTo>
                      <a:pt x="471" y="298"/>
                      <a:pt x="471" y="298"/>
                      <a:pt x="471" y="298"/>
                    </a:cubicBezTo>
                    <a:cubicBezTo>
                      <a:pt x="471" y="298"/>
                      <a:pt x="471" y="298"/>
                      <a:pt x="471" y="298"/>
                    </a:cubicBezTo>
                    <a:cubicBezTo>
                      <a:pt x="472" y="299"/>
                      <a:pt x="472" y="299"/>
                      <a:pt x="472" y="299"/>
                    </a:cubicBezTo>
                    <a:cubicBezTo>
                      <a:pt x="480" y="306"/>
                      <a:pt x="480" y="306"/>
                      <a:pt x="480" y="306"/>
                    </a:cubicBezTo>
                    <a:cubicBezTo>
                      <a:pt x="474" y="308"/>
                      <a:pt x="468" y="310"/>
                      <a:pt x="464" y="314"/>
                    </a:cubicBezTo>
                    <a:cubicBezTo>
                      <a:pt x="463" y="314"/>
                      <a:pt x="463" y="314"/>
                      <a:pt x="463" y="314"/>
                    </a:cubicBezTo>
                    <a:cubicBezTo>
                      <a:pt x="461" y="316"/>
                      <a:pt x="459" y="318"/>
                      <a:pt x="457" y="320"/>
                    </a:cubicBezTo>
                    <a:cubicBezTo>
                      <a:pt x="457" y="320"/>
                      <a:pt x="457" y="320"/>
                      <a:pt x="456" y="320"/>
                    </a:cubicBezTo>
                    <a:cubicBezTo>
                      <a:pt x="456" y="320"/>
                      <a:pt x="456" y="320"/>
                      <a:pt x="456" y="320"/>
                    </a:cubicBezTo>
                    <a:cubicBezTo>
                      <a:pt x="431" y="298"/>
                      <a:pt x="431" y="298"/>
                      <a:pt x="431" y="298"/>
                    </a:cubicBezTo>
                    <a:cubicBezTo>
                      <a:pt x="410" y="281"/>
                      <a:pt x="410" y="281"/>
                      <a:pt x="410" y="281"/>
                    </a:cubicBezTo>
                    <a:cubicBezTo>
                      <a:pt x="391" y="264"/>
                      <a:pt x="391" y="264"/>
                      <a:pt x="391" y="264"/>
                    </a:cubicBezTo>
                    <a:cubicBezTo>
                      <a:pt x="382" y="257"/>
                      <a:pt x="382" y="257"/>
                      <a:pt x="382" y="257"/>
                    </a:cubicBezTo>
                    <a:cubicBezTo>
                      <a:pt x="380" y="254"/>
                      <a:pt x="378" y="252"/>
                      <a:pt x="376" y="249"/>
                    </a:cubicBezTo>
                    <a:cubicBezTo>
                      <a:pt x="374" y="245"/>
                      <a:pt x="372" y="241"/>
                      <a:pt x="372" y="235"/>
                    </a:cubicBezTo>
                    <a:cubicBezTo>
                      <a:pt x="371" y="229"/>
                      <a:pt x="373" y="221"/>
                      <a:pt x="378" y="215"/>
                    </a:cubicBezTo>
                    <a:cubicBezTo>
                      <a:pt x="378" y="214"/>
                      <a:pt x="378" y="214"/>
                      <a:pt x="378" y="214"/>
                    </a:cubicBezTo>
                    <a:cubicBezTo>
                      <a:pt x="382" y="209"/>
                      <a:pt x="388" y="206"/>
                      <a:pt x="393" y="203"/>
                    </a:cubicBezTo>
                    <a:cubicBezTo>
                      <a:pt x="394" y="203"/>
                      <a:pt x="395" y="203"/>
                      <a:pt x="396" y="203"/>
                    </a:cubicBezTo>
                    <a:cubicBezTo>
                      <a:pt x="397" y="203"/>
                      <a:pt x="398" y="203"/>
                      <a:pt x="398" y="202"/>
                    </a:cubicBezTo>
                    <a:cubicBezTo>
                      <a:pt x="406" y="201"/>
                      <a:pt x="415" y="203"/>
                      <a:pt x="422" y="209"/>
                    </a:cubicBezTo>
                    <a:cubicBezTo>
                      <a:pt x="491" y="262"/>
                      <a:pt x="491" y="262"/>
                      <a:pt x="491" y="262"/>
                    </a:cubicBezTo>
                    <a:cubicBezTo>
                      <a:pt x="496" y="265"/>
                      <a:pt x="501" y="268"/>
                      <a:pt x="506" y="269"/>
                    </a:cubicBezTo>
                    <a:cubicBezTo>
                      <a:pt x="510" y="270"/>
                      <a:pt x="513" y="270"/>
                      <a:pt x="516" y="270"/>
                    </a:cubicBezTo>
                    <a:cubicBezTo>
                      <a:pt x="516" y="270"/>
                      <a:pt x="517" y="270"/>
                      <a:pt x="518" y="269"/>
                    </a:cubicBezTo>
                    <a:cubicBezTo>
                      <a:pt x="526" y="269"/>
                      <a:pt x="532" y="266"/>
                      <a:pt x="538" y="261"/>
                    </a:cubicBezTo>
                    <a:cubicBezTo>
                      <a:pt x="488" y="210"/>
                      <a:pt x="488" y="210"/>
                      <a:pt x="488" y="210"/>
                    </a:cubicBezTo>
                    <a:cubicBezTo>
                      <a:pt x="485" y="207"/>
                      <a:pt x="485" y="207"/>
                      <a:pt x="485" y="207"/>
                    </a:cubicBezTo>
                    <a:cubicBezTo>
                      <a:pt x="470" y="191"/>
                      <a:pt x="470" y="191"/>
                      <a:pt x="470" y="191"/>
                    </a:cubicBezTo>
                    <a:cubicBezTo>
                      <a:pt x="386" y="107"/>
                      <a:pt x="386" y="107"/>
                      <a:pt x="386" y="107"/>
                    </a:cubicBezTo>
                    <a:cubicBezTo>
                      <a:pt x="270" y="98"/>
                      <a:pt x="270" y="98"/>
                      <a:pt x="270" y="98"/>
                    </a:cubicBezTo>
                    <a:cubicBezTo>
                      <a:pt x="274" y="91"/>
                      <a:pt x="275" y="84"/>
                      <a:pt x="274" y="76"/>
                    </a:cubicBezTo>
                    <a:cubicBezTo>
                      <a:pt x="274" y="75"/>
                      <a:pt x="274" y="74"/>
                      <a:pt x="274" y="73"/>
                    </a:cubicBezTo>
                    <a:cubicBezTo>
                      <a:pt x="274" y="73"/>
                      <a:pt x="333" y="77"/>
                      <a:pt x="390" y="81"/>
                    </a:cubicBezTo>
                    <a:cubicBezTo>
                      <a:pt x="394" y="82"/>
                      <a:pt x="397" y="83"/>
                      <a:pt x="400" y="85"/>
                    </a:cubicBezTo>
                    <a:cubicBezTo>
                      <a:pt x="490" y="175"/>
                      <a:pt x="490" y="175"/>
                      <a:pt x="490" y="175"/>
                    </a:cubicBezTo>
                    <a:cubicBezTo>
                      <a:pt x="490" y="175"/>
                      <a:pt x="490" y="175"/>
                      <a:pt x="490" y="175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58" y="245"/>
                      <a:pt x="558" y="245"/>
                      <a:pt x="558" y="245"/>
                    </a:cubicBezTo>
                    <a:cubicBezTo>
                      <a:pt x="558" y="245"/>
                      <a:pt x="558" y="245"/>
                      <a:pt x="558" y="245"/>
                    </a:cubicBezTo>
                    <a:close/>
                    <a:moveTo>
                      <a:pt x="531" y="180"/>
                    </a:moveTo>
                    <a:cubicBezTo>
                      <a:pt x="562" y="163"/>
                      <a:pt x="612" y="133"/>
                      <a:pt x="612" y="133"/>
                    </a:cubicBezTo>
                    <a:cubicBezTo>
                      <a:pt x="612" y="133"/>
                      <a:pt x="612" y="133"/>
                      <a:pt x="602" y="126"/>
                    </a:cubicBezTo>
                    <a:cubicBezTo>
                      <a:pt x="598" y="123"/>
                      <a:pt x="595" y="119"/>
                      <a:pt x="593" y="114"/>
                    </a:cubicBezTo>
                    <a:cubicBezTo>
                      <a:pt x="593" y="114"/>
                      <a:pt x="543" y="143"/>
                      <a:pt x="513" y="162"/>
                    </a:cubicBezTo>
                    <a:cubicBezTo>
                      <a:pt x="513" y="162"/>
                      <a:pt x="513" y="162"/>
                      <a:pt x="531" y="180"/>
                    </a:cubicBezTo>
                    <a:close/>
                    <a:moveTo>
                      <a:pt x="352" y="698"/>
                    </a:moveTo>
                    <a:cubicBezTo>
                      <a:pt x="321" y="717"/>
                      <a:pt x="270" y="748"/>
                      <a:pt x="270" y="748"/>
                    </a:cubicBezTo>
                    <a:cubicBezTo>
                      <a:pt x="270" y="748"/>
                      <a:pt x="270" y="748"/>
                      <a:pt x="279" y="755"/>
                    </a:cubicBezTo>
                    <a:cubicBezTo>
                      <a:pt x="283" y="758"/>
                      <a:pt x="286" y="762"/>
                      <a:pt x="289" y="767"/>
                    </a:cubicBezTo>
                    <a:cubicBezTo>
                      <a:pt x="289" y="767"/>
                      <a:pt x="340" y="737"/>
                      <a:pt x="371" y="718"/>
                    </a:cubicBezTo>
                    <a:cubicBezTo>
                      <a:pt x="371" y="718"/>
                      <a:pt x="371" y="718"/>
                      <a:pt x="352" y="698"/>
                    </a:cubicBezTo>
                    <a:close/>
                    <a:moveTo>
                      <a:pt x="160" y="368"/>
                    </a:moveTo>
                    <a:cubicBezTo>
                      <a:pt x="160" y="368"/>
                      <a:pt x="160" y="368"/>
                      <a:pt x="160" y="368"/>
                    </a:cubicBezTo>
                    <a:cubicBezTo>
                      <a:pt x="179" y="350"/>
                      <a:pt x="179" y="350"/>
                      <a:pt x="179" y="350"/>
                    </a:cubicBezTo>
                    <a:cubicBezTo>
                      <a:pt x="162" y="321"/>
                      <a:pt x="134" y="273"/>
                      <a:pt x="134" y="273"/>
                    </a:cubicBezTo>
                    <a:cubicBezTo>
                      <a:pt x="134" y="273"/>
                      <a:pt x="134" y="273"/>
                      <a:pt x="133" y="271"/>
                    </a:cubicBezTo>
                    <a:cubicBezTo>
                      <a:pt x="133" y="271"/>
                      <a:pt x="133" y="271"/>
                      <a:pt x="125" y="280"/>
                    </a:cubicBezTo>
                    <a:cubicBezTo>
                      <a:pt x="122" y="284"/>
                      <a:pt x="118" y="287"/>
                      <a:pt x="113" y="290"/>
                    </a:cubicBezTo>
                    <a:cubicBezTo>
                      <a:pt x="113" y="290"/>
                      <a:pt x="142" y="338"/>
                      <a:pt x="160" y="368"/>
                    </a:cubicBezTo>
                    <a:close/>
                    <a:moveTo>
                      <a:pt x="251" y="462"/>
                    </a:moveTo>
                    <a:cubicBezTo>
                      <a:pt x="251" y="462"/>
                      <a:pt x="251" y="462"/>
                      <a:pt x="251" y="462"/>
                    </a:cubicBezTo>
                    <a:cubicBezTo>
                      <a:pt x="237" y="479"/>
                      <a:pt x="237" y="479"/>
                      <a:pt x="237" y="479"/>
                    </a:cubicBezTo>
                    <a:cubicBezTo>
                      <a:pt x="237" y="480"/>
                      <a:pt x="236" y="480"/>
                      <a:pt x="236" y="480"/>
                    </a:cubicBezTo>
                    <a:cubicBezTo>
                      <a:pt x="236" y="480"/>
                      <a:pt x="236" y="480"/>
                      <a:pt x="236" y="480"/>
                    </a:cubicBezTo>
                    <a:cubicBezTo>
                      <a:pt x="234" y="481"/>
                      <a:pt x="232" y="481"/>
                      <a:pt x="230" y="480"/>
                    </a:cubicBezTo>
                    <a:cubicBezTo>
                      <a:pt x="230" y="480"/>
                      <a:pt x="230" y="480"/>
                      <a:pt x="230" y="480"/>
                    </a:cubicBezTo>
                    <a:cubicBezTo>
                      <a:pt x="230" y="480"/>
                      <a:pt x="230" y="480"/>
                      <a:pt x="229" y="480"/>
                    </a:cubicBezTo>
                    <a:cubicBezTo>
                      <a:pt x="228" y="479"/>
                      <a:pt x="227" y="478"/>
                      <a:pt x="227" y="477"/>
                    </a:cubicBezTo>
                    <a:cubicBezTo>
                      <a:pt x="227" y="477"/>
                      <a:pt x="227" y="477"/>
                      <a:pt x="227" y="476"/>
                    </a:cubicBezTo>
                    <a:cubicBezTo>
                      <a:pt x="227" y="476"/>
                      <a:pt x="227" y="474"/>
                      <a:pt x="229" y="473"/>
                    </a:cubicBezTo>
                    <a:cubicBezTo>
                      <a:pt x="229" y="473"/>
                      <a:pt x="229" y="473"/>
                      <a:pt x="248" y="447"/>
                    </a:cubicBezTo>
                    <a:cubicBezTo>
                      <a:pt x="248" y="447"/>
                      <a:pt x="248" y="447"/>
                      <a:pt x="248" y="447"/>
                    </a:cubicBezTo>
                    <a:cubicBezTo>
                      <a:pt x="248" y="447"/>
                      <a:pt x="248" y="447"/>
                      <a:pt x="282" y="403"/>
                    </a:cubicBezTo>
                    <a:cubicBezTo>
                      <a:pt x="288" y="395"/>
                      <a:pt x="292" y="385"/>
                      <a:pt x="294" y="375"/>
                    </a:cubicBezTo>
                    <a:cubicBezTo>
                      <a:pt x="294" y="374"/>
                      <a:pt x="294" y="374"/>
                      <a:pt x="294" y="373"/>
                    </a:cubicBezTo>
                    <a:cubicBezTo>
                      <a:pt x="296" y="355"/>
                      <a:pt x="291" y="335"/>
                      <a:pt x="277" y="321"/>
                    </a:cubicBezTo>
                    <a:cubicBezTo>
                      <a:pt x="273" y="316"/>
                      <a:pt x="267" y="314"/>
                      <a:pt x="261" y="314"/>
                    </a:cubicBezTo>
                    <a:cubicBezTo>
                      <a:pt x="261" y="314"/>
                      <a:pt x="261" y="314"/>
                      <a:pt x="260" y="314"/>
                    </a:cubicBezTo>
                    <a:cubicBezTo>
                      <a:pt x="260" y="314"/>
                      <a:pt x="259" y="314"/>
                      <a:pt x="258" y="314"/>
                    </a:cubicBezTo>
                    <a:cubicBezTo>
                      <a:pt x="258" y="314"/>
                      <a:pt x="258" y="314"/>
                      <a:pt x="258" y="314"/>
                    </a:cubicBezTo>
                    <a:cubicBezTo>
                      <a:pt x="253" y="315"/>
                      <a:pt x="249" y="316"/>
                      <a:pt x="245" y="320"/>
                    </a:cubicBezTo>
                    <a:cubicBezTo>
                      <a:pt x="245" y="320"/>
                      <a:pt x="245" y="320"/>
                      <a:pt x="163" y="401"/>
                    </a:cubicBezTo>
                    <a:cubicBezTo>
                      <a:pt x="163" y="401"/>
                      <a:pt x="163" y="401"/>
                      <a:pt x="85" y="479"/>
                    </a:cubicBezTo>
                    <a:cubicBezTo>
                      <a:pt x="84" y="480"/>
                      <a:pt x="83" y="483"/>
                      <a:pt x="83" y="484"/>
                    </a:cubicBezTo>
                    <a:cubicBezTo>
                      <a:pt x="83" y="485"/>
                      <a:pt x="83" y="485"/>
                      <a:pt x="83" y="485"/>
                    </a:cubicBezTo>
                    <a:cubicBezTo>
                      <a:pt x="82" y="486"/>
                      <a:pt x="82" y="487"/>
                      <a:pt x="82" y="488"/>
                    </a:cubicBezTo>
                    <a:cubicBezTo>
                      <a:pt x="81" y="499"/>
                      <a:pt x="80" y="510"/>
                      <a:pt x="79" y="520"/>
                    </a:cubicBezTo>
                    <a:cubicBezTo>
                      <a:pt x="79" y="520"/>
                      <a:pt x="79" y="520"/>
                      <a:pt x="79" y="523"/>
                    </a:cubicBezTo>
                    <a:cubicBezTo>
                      <a:pt x="76" y="567"/>
                      <a:pt x="73" y="605"/>
                      <a:pt x="73" y="605"/>
                    </a:cubicBezTo>
                    <a:cubicBezTo>
                      <a:pt x="74" y="605"/>
                      <a:pt x="75" y="605"/>
                      <a:pt x="76" y="605"/>
                    </a:cubicBezTo>
                    <a:cubicBezTo>
                      <a:pt x="84" y="604"/>
                      <a:pt x="91" y="606"/>
                      <a:pt x="97" y="609"/>
                    </a:cubicBezTo>
                    <a:cubicBezTo>
                      <a:pt x="98" y="609"/>
                      <a:pt x="98" y="609"/>
                      <a:pt x="98" y="609"/>
                    </a:cubicBezTo>
                    <a:cubicBezTo>
                      <a:pt x="98" y="609"/>
                      <a:pt x="98" y="609"/>
                      <a:pt x="105" y="524"/>
                    </a:cubicBezTo>
                    <a:cubicBezTo>
                      <a:pt x="105" y="524"/>
                      <a:pt x="105" y="524"/>
                      <a:pt x="107" y="492"/>
                    </a:cubicBezTo>
                    <a:cubicBezTo>
                      <a:pt x="107" y="492"/>
                      <a:pt x="107" y="492"/>
                      <a:pt x="108" y="492"/>
                    </a:cubicBezTo>
                    <a:cubicBezTo>
                      <a:pt x="108" y="492"/>
                      <a:pt x="108" y="492"/>
                      <a:pt x="173" y="427"/>
                    </a:cubicBezTo>
                    <a:cubicBezTo>
                      <a:pt x="173" y="427"/>
                      <a:pt x="173" y="427"/>
                      <a:pt x="260" y="340"/>
                    </a:cubicBezTo>
                    <a:cubicBezTo>
                      <a:pt x="260" y="341"/>
                      <a:pt x="260" y="341"/>
                      <a:pt x="261" y="341"/>
                    </a:cubicBezTo>
                    <a:cubicBezTo>
                      <a:pt x="265" y="347"/>
                      <a:pt x="268" y="354"/>
                      <a:pt x="268" y="361"/>
                    </a:cubicBezTo>
                    <a:cubicBezTo>
                      <a:pt x="269" y="362"/>
                      <a:pt x="269" y="362"/>
                      <a:pt x="269" y="363"/>
                    </a:cubicBezTo>
                    <a:cubicBezTo>
                      <a:pt x="269" y="366"/>
                      <a:pt x="269" y="369"/>
                      <a:pt x="268" y="373"/>
                    </a:cubicBezTo>
                    <a:cubicBezTo>
                      <a:pt x="267" y="378"/>
                      <a:pt x="264" y="383"/>
                      <a:pt x="261" y="388"/>
                    </a:cubicBezTo>
                    <a:cubicBezTo>
                      <a:pt x="261" y="388"/>
                      <a:pt x="261" y="388"/>
                      <a:pt x="208" y="457"/>
                    </a:cubicBezTo>
                    <a:cubicBezTo>
                      <a:pt x="203" y="464"/>
                      <a:pt x="201" y="472"/>
                      <a:pt x="202" y="480"/>
                    </a:cubicBezTo>
                    <a:cubicBezTo>
                      <a:pt x="202" y="481"/>
                      <a:pt x="202" y="482"/>
                      <a:pt x="202" y="483"/>
                    </a:cubicBezTo>
                    <a:cubicBezTo>
                      <a:pt x="203" y="484"/>
                      <a:pt x="203" y="485"/>
                      <a:pt x="203" y="486"/>
                    </a:cubicBezTo>
                    <a:cubicBezTo>
                      <a:pt x="205" y="492"/>
                      <a:pt x="209" y="497"/>
                      <a:pt x="214" y="500"/>
                    </a:cubicBezTo>
                    <a:cubicBezTo>
                      <a:pt x="214" y="500"/>
                      <a:pt x="214" y="500"/>
                      <a:pt x="215" y="501"/>
                    </a:cubicBezTo>
                    <a:cubicBezTo>
                      <a:pt x="221" y="505"/>
                      <a:pt x="228" y="508"/>
                      <a:pt x="235" y="507"/>
                    </a:cubicBezTo>
                    <a:cubicBezTo>
                      <a:pt x="240" y="507"/>
                      <a:pt x="245" y="505"/>
                      <a:pt x="248" y="503"/>
                    </a:cubicBezTo>
                    <a:cubicBezTo>
                      <a:pt x="248" y="503"/>
                      <a:pt x="248" y="503"/>
                      <a:pt x="249" y="503"/>
                    </a:cubicBezTo>
                    <a:cubicBezTo>
                      <a:pt x="249" y="503"/>
                      <a:pt x="249" y="503"/>
                      <a:pt x="249" y="503"/>
                    </a:cubicBezTo>
                    <a:cubicBezTo>
                      <a:pt x="251" y="500"/>
                      <a:pt x="258" y="493"/>
                      <a:pt x="264" y="486"/>
                    </a:cubicBezTo>
                    <a:cubicBezTo>
                      <a:pt x="258" y="479"/>
                      <a:pt x="254" y="471"/>
                      <a:pt x="251" y="462"/>
                    </a:cubicBezTo>
                    <a:close/>
                    <a:moveTo>
                      <a:pt x="768" y="589"/>
                    </a:moveTo>
                    <a:cubicBezTo>
                      <a:pt x="768" y="589"/>
                      <a:pt x="762" y="580"/>
                      <a:pt x="755" y="567"/>
                    </a:cubicBezTo>
                    <a:cubicBezTo>
                      <a:pt x="755" y="567"/>
                      <a:pt x="755" y="567"/>
                      <a:pt x="752" y="563"/>
                    </a:cubicBezTo>
                    <a:cubicBezTo>
                      <a:pt x="752" y="563"/>
                      <a:pt x="752" y="563"/>
                      <a:pt x="748" y="556"/>
                    </a:cubicBezTo>
                    <a:cubicBezTo>
                      <a:pt x="738" y="538"/>
                      <a:pt x="724" y="516"/>
                      <a:pt x="716" y="502"/>
                    </a:cubicBezTo>
                    <a:cubicBezTo>
                      <a:pt x="716" y="501"/>
                      <a:pt x="716" y="501"/>
                      <a:pt x="715" y="500"/>
                    </a:cubicBezTo>
                    <a:cubicBezTo>
                      <a:pt x="715" y="499"/>
                      <a:pt x="715" y="499"/>
                      <a:pt x="714" y="498"/>
                    </a:cubicBezTo>
                    <a:cubicBezTo>
                      <a:pt x="712" y="494"/>
                      <a:pt x="710" y="491"/>
                      <a:pt x="709" y="489"/>
                    </a:cubicBezTo>
                    <a:cubicBezTo>
                      <a:pt x="709" y="489"/>
                      <a:pt x="709" y="489"/>
                      <a:pt x="709" y="489"/>
                    </a:cubicBezTo>
                    <a:cubicBezTo>
                      <a:pt x="709" y="489"/>
                      <a:pt x="709" y="489"/>
                      <a:pt x="702" y="477"/>
                    </a:cubicBezTo>
                    <a:cubicBezTo>
                      <a:pt x="702" y="477"/>
                      <a:pt x="702" y="477"/>
                      <a:pt x="702" y="477"/>
                    </a:cubicBezTo>
                    <a:cubicBezTo>
                      <a:pt x="702" y="477"/>
                      <a:pt x="701" y="476"/>
                      <a:pt x="700" y="475"/>
                    </a:cubicBezTo>
                    <a:cubicBezTo>
                      <a:pt x="700" y="474"/>
                      <a:pt x="699" y="474"/>
                      <a:pt x="699" y="473"/>
                    </a:cubicBezTo>
                    <a:cubicBezTo>
                      <a:pt x="698" y="473"/>
                      <a:pt x="698" y="472"/>
                      <a:pt x="697" y="471"/>
                    </a:cubicBezTo>
                    <a:cubicBezTo>
                      <a:pt x="697" y="471"/>
                      <a:pt x="697" y="471"/>
                      <a:pt x="693" y="468"/>
                    </a:cubicBezTo>
                    <a:cubicBezTo>
                      <a:pt x="693" y="468"/>
                      <a:pt x="693" y="468"/>
                      <a:pt x="693" y="469"/>
                    </a:cubicBezTo>
                    <a:cubicBezTo>
                      <a:pt x="693" y="469"/>
                      <a:pt x="693" y="469"/>
                      <a:pt x="525" y="337"/>
                    </a:cubicBezTo>
                    <a:cubicBezTo>
                      <a:pt x="520" y="333"/>
                      <a:pt x="514" y="330"/>
                      <a:pt x="508" y="330"/>
                    </a:cubicBezTo>
                    <a:cubicBezTo>
                      <a:pt x="508" y="330"/>
                      <a:pt x="508" y="330"/>
                      <a:pt x="507" y="329"/>
                    </a:cubicBezTo>
                    <a:cubicBezTo>
                      <a:pt x="507" y="329"/>
                      <a:pt x="507" y="329"/>
                      <a:pt x="507" y="329"/>
                    </a:cubicBezTo>
                    <a:cubicBezTo>
                      <a:pt x="507" y="329"/>
                      <a:pt x="507" y="329"/>
                      <a:pt x="505" y="328"/>
                    </a:cubicBezTo>
                    <a:cubicBezTo>
                      <a:pt x="496" y="327"/>
                      <a:pt x="487" y="329"/>
                      <a:pt x="479" y="335"/>
                    </a:cubicBezTo>
                    <a:cubicBezTo>
                      <a:pt x="479" y="335"/>
                      <a:pt x="479" y="335"/>
                      <a:pt x="479" y="335"/>
                    </a:cubicBezTo>
                    <a:cubicBezTo>
                      <a:pt x="478" y="336"/>
                      <a:pt x="477" y="336"/>
                      <a:pt x="477" y="337"/>
                    </a:cubicBezTo>
                    <a:cubicBezTo>
                      <a:pt x="477" y="337"/>
                      <a:pt x="477" y="337"/>
                      <a:pt x="477" y="337"/>
                    </a:cubicBezTo>
                    <a:cubicBezTo>
                      <a:pt x="477" y="337"/>
                      <a:pt x="477" y="337"/>
                      <a:pt x="477" y="337"/>
                    </a:cubicBezTo>
                    <a:cubicBezTo>
                      <a:pt x="476" y="338"/>
                      <a:pt x="476" y="338"/>
                      <a:pt x="476" y="338"/>
                    </a:cubicBezTo>
                    <a:cubicBezTo>
                      <a:pt x="475" y="339"/>
                      <a:pt x="475" y="340"/>
                      <a:pt x="475" y="340"/>
                    </a:cubicBezTo>
                    <a:cubicBezTo>
                      <a:pt x="474" y="340"/>
                      <a:pt x="474" y="340"/>
                      <a:pt x="474" y="340"/>
                    </a:cubicBezTo>
                    <a:cubicBezTo>
                      <a:pt x="472" y="342"/>
                      <a:pt x="471" y="344"/>
                      <a:pt x="469" y="346"/>
                    </a:cubicBezTo>
                    <a:cubicBezTo>
                      <a:pt x="468" y="348"/>
                      <a:pt x="466" y="350"/>
                      <a:pt x="465" y="353"/>
                    </a:cubicBezTo>
                    <a:cubicBezTo>
                      <a:pt x="465" y="353"/>
                      <a:pt x="465" y="353"/>
                      <a:pt x="465" y="353"/>
                    </a:cubicBezTo>
                    <a:cubicBezTo>
                      <a:pt x="465" y="354"/>
                      <a:pt x="465" y="354"/>
                      <a:pt x="465" y="354"/>
                    </a:cubicBezTo>
                    <a:cubicBezTo>
                      <a:pt x="465" y="354"/>
                      <a:pt x="465" y="354"/>
                      <a:pt x="464" y="353"/>
                    </a:cubicBezTo>
                    <a:cubicBezTo>
                      <a:pt x="464" y="353"/>
                      <a:pt x="463" y="353"/>
                      <a:pt x="462" y="352"/>
                    </a:cubicBezTo>
                    <a:cubicBezTo>
                      <a:pt x="462" y="352"/>
                      <a:pt x="462" y="352"/>
                      <a:pt x="461" y="352"/>
                    </a:cubicBezTo>
                    <a:cubicBezTo>
                      <a:pt x="461" y="351"/>
                      <a:pt x="460" y="351"/>
                      <a:pt x="460" y="350"/>
                    </a:cubicBezTo>
                    <a:cubicBezTo>
                      <a:pt x="460" y="350"/>
                      <a:pt x="459" y="350"/>
                      <a:pt x="458" y="350"/>
                    </a:cubicBezTo>
                    <a:cubicBezTo>
                      <a:pt x="458" y="349"/>
                      <a:pt x="457" y="349"/>
                      <a:pt x="457" y="349"/>
                    </a:cubicBezTo>
                    <a:cubicBezTo>
                      <a:pt x="457" y="349"/>
                      <a:pt x="457" y="349"/>
                      <a:pt x="456" y="349"/>
                    </a:cubicBezTo>
                    <a:cubicBezTo>
                      <a:pt x="456" y="348"/>
                      <a:pt x="455" y="348"/>
                      <a:pt x="454" y="348"/>
                    </a:cubicBezTo>
                    <a:cubicBezTo>
                      <a:pt x="454" y="348"/>
                      <a:pt x="453" y="348"/>
                      <a:pt x="453" y="347"/>
                    </a:cubicBezTo>
                    <a:cubicBezTo>
                      <a:pt x="452" y="347"/>
                      <a:pt x="452" y="346"/>
                      <a:pt x="451" y="346"/>
                    </a:cubicBezTo>
                    <a:cubicBezTo>
                      <a:pt x="450" y="346"/>
                      <a:pt x="449" y="346"/>
                      <a:pt x="449" y="346"/>
                    </a:cubicBezTo>
                    <a:cubicBezTo>
                      <a:pt x="448" y="346"/>
                      <a:pt x="448" y="346"/>
                      <a:pt x="448" y="345"/>
                    </a:cubicBezTo>
                    <a:cubicBezTo>
                      <a:pt x="447" y="345"/>
                      <a:pt x="446" y="345"/>
                      <a:pt x="446" y="345"/>
                    </a:cubicBezTo>
                    <a:cubicBezTo>
                      <a:pt x="445" y="345"/>
                      <a:pt x="445" y="345"/>
                      <a:pt x="444" y="345"/>
                    </a:cubicBezTo>
                    <a:cubicBezTo>
                      <a:pt x="444" y="345"/>
                      <a:pt x="444" y="345"/>
                      <a:pt x="443" y="345"/>
                    </a:cubicBezTo>
                    <a:cubicBezTo>
                      <a:pt x="442" y="345"/>
                      <a:pt x="441" y="345"/>
                      <a:pt x="440" y="345"/>
                    </a:cubicBezTo>
                    <a:cubicBezTo>
                      <a:pt x="438" y="345"/>
                      <a:pt x="438" y="345"/>
                      <a:pt x="437" y="345"/>
                    </a:cubicBezTo>
                    <a:cubicBezTo>
                      <a:pt x="432" y="345"/>
                      <a:pt x="426" y="346"/>
                      <a:pt x="422" y="348"/>
                    </a:cubicBezTo>
                    <a:cubicBezTo>
                      <a:pt x="419" y="349"/>
                      <a:pt x="416" y="351"/>
                      <a:pt x="413" y="353"/>
                    </a:cubicBezTo>
                    <a:cubicBezTo>
                      <a:pt x="412" y="354"/>
                      <a:pt x="410" y="356"/>
                      <a:pt x="409" y="357"/>
                    </a:cubicBezTo>
                    <a:cubicBezTo>
                      <a:pt x="409" y="357"/>
                      <a:pt x="409" y="357"/>
                      <a:pt x="409" y="357"/>
                    </a:cubicBezTo>
                    <a:cubicBezTo>
                      <a:pt x="408" y="358"/>
                      <a:pt x="408" y="358"/>
                      <a:pt x="408" y="358"/>
                    </a:cubicBezTo>
                    <a:cubicBezTo>
                      <a:pt x="406" y="360"/>
                      <a:pt x="404" y="363"/>
                      <a:pt x="402" y="366"/>
                    </a:cubicBezTo>
                    <a:cubicBezTo>
                      <a:pt x="402" y="366"/>
                      <a:pt x="402" y="366"/>
                      <a:pt x="402" y="366"/>
                    </a:cubicBezTo>
                    <a:cubicBezTo>
                      <a:pt x="401" y="368"/>
                      <a:pt x="400" y="370"/>
                      <a:pt x="400" y="373"/>
                    </a:cubicBezTo>
                    <a:cubicBezTo>
                      <a:pt x="399" y="373"/>
                      <a:pt x="399" y="374"/>
                      <a:pt x="399" y="374"/>
                    </a:cubicBezTo>
                    <a:cubicBezTo>
                      <a:pt x="399" y="374"/>
                      <a:pt x="399" y="374"/>
                      <a:pt x="399" y="375"/>
                    </a:cubicBezTo>
                    <a:cubicBezTo>
                      <a:pt x="397" y="374"/>
                      <a:pt x="395" y="374"/>
                      <a:pt x="393" y="373"/>
                    </a:cubicBezTo>
                    <a:cubicBezTo>
                      <a:pt x="383" y="371"/>
                      <a:pt x="372" y="373"/>
                      <a:pt x="363" y="377"/>
                    </a:cubicBezTo>
                    <a:cubicBezTo>
                      <a:pt x="361" y="378"/>
                      <a:pt x="360" y="379"/>
                      <a:pt x="358" y="380"/>
                    </a:cubicBezTo>
                    <a:cubicBezTo>
                      <a:pt x="358" y="381"/>
                      <a:pt x="358" y="381"/>
                      <a:pt x="357" y="381"/>
                    </a:cubicBezTo>
                    <a:cubicBezTo>
                      <a:pt x="357" y="381"/>
                      <a:pt x="357" y="381"/>
                      <a:pt x="357" y="381"/>
                    </a:cubicBezTo>
                    <a:cubicBezTo>
                      <a:pt x="356" y="382"/>
                      <a:pt x="355" y="383"/>
                      <a:pt x="354" y="384"/>
                    </a:cubicBezTo>
                    <a:cubicBezTo>
                      <a:pt x="353" y="385"/>
                      <a:pt x="353" y="385"/>
                      <a:pt x="352" y="386"/>
                    </a:cubicBezTo>
                    <a:cubicBezTo>
                      <a:pt x="351" y="387"/>
                      <a:pt x="350" y="388"/>
                      <a:pt x="350" y="388"/>
                    </a:cubicBezTo>
                    <a:cubicBezTo>
                      <a:pt x="349" y="390"/>
                      <a:pt x="347" y="392"/>
                      <a:pt x="346" y="394"/>
                    </a:cubicBezTo>
                    <a:cubicBezTo>
                      <a:pt x="345" y="395"/>
                      <a:pt x="345" y="397"/>
                      <a:pt x="344" y="398"/>
                    </a:cubicBezTo>
                    <a:cubicBezTo>
                      <a:pt x="344" y="399"/>
                      <a:pt x="343" y="401"/>
                      <a:pt x="342" y="402"/>
                    </a:cubicBezTo>
                    <a:cubicBezTo>
                      <a:pt x="342" y="402"/>
                      <a:pt x="342" y="403"/>
                      <a:pt x="342" y="403"/>
                    </a:cubicBezTo>
                    <a:cubicBezTo>
                      <a:pt x="342" y="404"/>
                      <a:pt x="342" y="404"/>
                      <a:pt x="342" y="404"/>
                    </a:cubicBezTo>
                    <a:cubicBezTo>
                      <a:pt x="341" y="404"/>
                      <a:pt x="340" y="403"/>
                      <a:pt x="339" y="402"/>
                    </a:cubicBezTo>
                    <a:cubicBezTo>
                      <a:pt x="339" y="402"/>
                      <a:pt x="339" y="402"/>
                      <a:pt x="339" y="402"/>
                    </a:cubicBezTo>
                    <a:cubicBezTo>
                      <a:pt x="338" y="402"/>
                      <a:pt x="338" y="402"/>
                      <a:pt x="338" y="402"/>
                    </a:cubicBezTo>
                    <a:cubicBezTo>
                      <a:pt x="337" y="401"/>
                      <a:pt x="335" y="401"/>
                      <a:pt x="333" y="400"/>
                    </a:cubicBezTo>
                    <a:cubicBezTo>
                      <a:pt x="325" y="397"/>
                      <a:pt x="317" y="397"/>
                      <a:pt x="308" y="398"/>
                    </a:cubicBezTo>
                    <a:cubicBezTo>
                      <a:pt x="308" y="398"/>
                      <a:pt x="308" y="398"/>
                      <a:pt x="307" y="398"/>
                    </a:cubicBezTo>
                    <a:cubicBezTo>
                      <a:pt x="307" y="398"/>
                      <a:pt x="307" y="398"/>
                      <a:pt x="307" y="398"/>
                    </a:cubicBezTo>
                    <a:cubicBezTo>
                      <a:pt x="301" y="400"/>
                      <a:pt x="295" y="403"/>
                      <a:pt x="290" y="407"/>
                    </a:cubicBezTo>
                    <a:cubicBezTo>
                      <a:pt x="287" y="409"/>
                      <a:pt x="286" y="410"/>
                      <a:pt x="284" y="413"/>
                    </a:cubicBezTo>
                    <a:cubicBezTo>
                      <a:pt x="283" y="413"/>
                      <a:pt x="283" y="413"/>
                      <a:pt x="283" y="413"/>
                    </a:cubicBezTo>
                    <a:cubicBezTo>
                      <a:pt x="277" y="421"/>
                      <a:pt x="274" y="430"/>
                      <a:pt x="273" y="440"/>
                    </a:cubicBezTo>
                    <a:cubicBezTo>
                      <a:pt x="273" y="454"/>
                      <a:pt x="279" y="467"/>
                      <a:pt x="289" y="475"/>
                    </a:cubicBezTo>
                    <a:cubicBezTo>
                      <a:pt x="289" y="475"/>
                      <a:pt x="289" y="475"/>
                      <a:pt x="318" y="499"/>
                    </a:cubicBezTo>
                    <a:cubicBezTo>
                      <a:pt x="318" y="499"/>
                      <a:pt x="318" y="499"/>
                      <a:pt x="317" y="500"/>
                    </a:cubicBezTo>
                    <a:cubicBezTo>
                      <a:pt x="317" y="500"/>
                      <a:pt x="317" y="500"/>
                      <a:pt x="334" y="514"/>
                    </a:cubicBezTo>
                    <a:cubicBezTo>
                      <a:pt x="334" y="514"/>
                      <a:pt x="334" y="514"/>
                      <a:pt x="448" y="611"/>
                    </a:cubicBezTo>
                    <a:cubicBezTo>
                      <a:pt x="448" y="611"/>
                      <a:pt x="448" y="611"/>
                      <a:pt x="481" y="641"/>
                    </a:cubicBezTo>
                    <a:cubicBezTo>
                      <a:pt x="484" y="642"/>
                      <a:pt x="484" y="645"/>
                      <a:pt x="483" y="647"/>
                    </a:cubicBezTo>
                    <a:cubicBezTo>
                      <a:pt x="483" y="647"/>
                      <a:pt x="483" y="647"/>
                      <a:pt x="482" y="648"/>
                    </a:cubicBezTo>
                    <a:cubicBezTo>
                      <a:pt x="482" y="648"/>
                      <a:pt x="482" y="648"/>
                      <a:pt x="482" y="649"/>
                    </a:cubicBezTo>
                    <a:cubicBezTo>
                      <a:pt x="482" y="649"/>
                      <a:pt x="482" y="649"/>
                      <a:pt x="481" y="649"/>
                    </a:cubicBezTo>
                    <a:cubicBezTo>
                      <a:pt x="481" y="649"/>
                      <a:pt x="481" y="649"/>
                      <a:pt x="481" y="649"/>
                    </a:cubicBezTo>
                    <a:cubicBezTo>
                      <a:pt x="481" y="649"/>
                      <a:pt x="481" y="649"/>
                      <a:pt x="480" y="649"/>
                    </a:cubicBezTo>
                    <a:cubicBezTo>
                      <a:pt x="480" y="650"/>
                      <a:pt x="479" y="650"/>
                      <a:pt x="479" y="650"/>
                    </a:cubicBezTo>
                    <a:cubicBezTo>
                      <a:pt x="479" y="650"/>
                      <a:pt x="479" y="650"/>
                      <a:pt x="479" y="650"/>
                    </a:cubicBezTo>
                    <a:cubicBezTo>
                      <a:pt x="477" y="650"/>
                      <a:pt x="477" y="650"/>
                      <a:pt x="475" y="649"/>
                    </a:cubicBezTo>
                    <a:cubicBezTo>
                      <a:pt x="475" y="649"/>
                      <a:pt x="475" y="649"/>
                      <a:pt x="475" y="649"/>
                    </a:cubicBezTo>
                    <a:cubicBezTo>
                      <a:pt x="475" y="649"/>
                      <a:pt x="475" y="649"/>
                      <a:pt x="455" y="634"/>
                    </a:cubicBezTo>
                    <a:cubicBezTo>
                      <a:pt x="455" y="634"/>
                      <a:pt x="455" y="634"/>
                      <a:pt x="434" y="618"/>
                    </a:cubicBezTo>
                    <a:cubicBezTo>
                      <a:pt x="434" y="618"/>
                      <a:pt x="434" y="618"/>
                      <a:pt x="405" y="595"/>
                    </a:cubicBezTo>
                    <a:cubicBezTo>
                      <a:pt x="400" y="591"/>
                      <a:pt x="393" y="587"/>
                      <a:pt x="386" y="585"/>
                    </a:cubicBezTo>
                    <a:cubicBezTo>
                      <a:pt x="365" y="579"/>
                      <a:pt x="340" y="584"/>
                      <a:pt x="324" y="600"/>
                    </a:cubicBezTo>
                    <a:cubicBezTo>
                      <a:pt x="323" y="601"/>
                      <a:pt x="322" y="601"/>
                      <a:pt x="322" y="602"/>
                    </a:cubicBezTo>
                    <a:cubicBezTo>
                      <a:pt x="321" y="602"/>
                      <a:pt x="321" y="602"/>
                      <a:pt x="321" y="603"/>
                    </a:cubicBezTo>
                    <a:cubicBezTo>
                      <a:pt x="318" y="607"/>
                      <a:pt x="316" y="611"/>
                      <a:pt x="316" y="617"/>
                    </a:cubicBezTo>
                    <a:cubicBezTo>
                      <a:pt x="316" y="617"/>
                      <a:pt x="316" y="617"/>
                      <a:pt x="316" y="617"/>
                    </a:cubicBezTo>
                    <a:cubicBezTo>
                      <a:pt x="316" y="618"/>
                      <a:pt x="316" y="619"/>
                      <a:pt x="316" y="619"/>
                    </a:cubicBezTo>
                    <a:cubicBezTo>
                      <a:pt x="316" y="619"/>
                      <a:pt x="316" y="619"/>
                      <a:pt x="316" y="619"/>
                    </a:cubicBezTo>
                    <a:cubicBezTo>
                      <a:pt x="317" y="622"/>
                      <a:pt x="317" y="623"/>
                      <a:pt x="318" y="625"/>
                    </a:cubicBezTo>
                    <a:cubicBezTo>
                      <a:pt x="319" y="627"/>
                      <a:pt x="321" y="630"/>
                      <a:pt x="322" y="631"/>
                    </a:cubicBezTo>
                    <a:cubicBezTo>
                      <a:pt x="322" y="631"/>
                      <a:pt x="322" y="631"/>
                      <a:pt x="357" y="667"/>
                    </a:cubicBezTo>
                    <a:cubicBezTo>
                      <a:pt x="357" y="667"/>
                      <a:pt x="357" y="667"/>
                      <a:pt x="375" y="685"/>
                    </a:cubicBezTo>
                    <a:cubicBezTo>
                      <a:pt x="375" y="685"/>
                      <a:pt x="375" y="685"/>
                      <a:pt x="393" y="705"/>
                    </a:cubicBezTo>
                    <a:cubicBezTo>
                      <a:pt x="393" y="705"/>
                      <a:pt x="393" y="705"/>
                      <a:pt x="412" y="723"/>
                    </a:cubicBezTo>
                    <a:cubicBezTo>
                      <a:pt x="412" y="723"/>
                      <a:pt x="412" y="723"/>
                      <a:pt x="412" y="723"/>
                    </a:cubicBezTo>
                    <a:cubicBezTo>
                      <a:pt x="412" y="723"/>
                      <a:pt x="412" y="723"/>
                      <a:pt x="481" y="792"/>
                    </a:cubicBezTo>
                    <a:cubicBezTo>
                      <a:pt x="481" y="793"/>
                      <a:pt x="482" y="793"/>
                      <a:pt x="483" y="794"/>
                    </a:cubicBezTo>
                    <a:cubicBezTo>
                      <a:pt x="483" y="794"/>
                      <a:pt x="483" y="794"/>
                      <a:pt x="483" y="794"/>
                    </a:cubicBezTo>
                    <a:cubicBezTo>
                      <a:pt x="485" y="795"/>
                      <a:pt x="488" y="796"/>
                      <a:pt x="491" y="796"/>
                    </a:cubicBezTo>
                    <a:cubicBezTo>
                      <a:pt x="520" y="798"/>
                      <a:pt x="550" y="801"/>
                      <a:pt x="572" y="802"/>
                    </a:cubicBezTo>
                    <a:cubicBezTo>
                      <a:pt x="573" y="802"/>
                      <a:pt x="574" y="802"/>
                      <a:pt x="575" y="802"/>
                    </a:cubicBezTo>
                    <a:cubicBezTo>
                      <a:pt x="595" y="804"/>
                      <a:pt x="607" y="805"/>
                      <a:pt x="607" y="805"/>
                    </a:cubicBezTo>
                    <a:cubicBezTo>
                      <a:pt x="607" y="804"/>
                      <a:pt x="607" y="803"/>
                      <a:pt x="607" y="802"/>
                    </a:cubicBezTo>
                    <a:cubicBezTo>
                      <a:pt x="606" y="794"/>
                      <a:pt x="607" y="787"/>
                      <a:pt x="611" y="780"/>
                    </a:cubicBezTo>
                    <a:cubicBezTo>
                      <a:pt x="611" y="780"/>
                      <a:pt x="611" y="780"/>
                      <a:pt x="611" y="779"/>
                    </a:cubicBezTo>
                    <a:cubicBezTo>
                      <a:pt x="611" y="779"/>
                      <a:pt x="611" y="779"/>
                      <a:pt x="611" y="779"/>
                    </a:cubicBezTo>
                    <a:cubicBezTo>
                      <a:pt x="611" y="779"/>
                      <a:pt x="611" y="779"/>
                      <a:pt x="575" y="777"/>
                    </a:cubicBezTo>
                    <a:cubicBezTo>
                      <a:pt x="575" y="777"/>
                      <a:pt x="575" y="777"/>
                      <a:pt x="495" y="770"/>
                    </a:cubicBezTo>
                    <a:cubicBezTo>
                      <a:pt x="495" y="770"/>
                      <a:pt x="495" y="770"/>
                      <a:pt x="494" y="770"/>
                    </a:cubicBezTo>
                    <a:cubicBezTo>
                      <a:pt x="494" y="770"/>
                      <a:pt x="494" y="770"/>
                      <a:pt x="444" y="719"/>
                    </a:cubicBezTo>
                    <a:cubicBezTo>
                      <a:pt x="444" y="719"/>
                      <a:pt x="444" y="719"/>
                      <a:pt x="442" y="717"/>
                    </a:cubicBezTo>
                    <a:cubicBezTo>
                      <a:pt x="442" y="717"/>
                      <a:pt x="442" y="717"/>
                      <a:pt x="430" y="705"/>
                    </a:cubicBezTo>
                    <a:cubicBezTo>
                      <a:pt x="430" y="705"/>
                      <a:pt x="430" y="705"/>
                      <a:pt x="413" y="687"/>
                    </a:cubicBezTo>
                    <a:cubicBezTo>
                      <a:pt x="413" y="687"/>
                      <a:pt x="413" y="687"/>
                      <a:pt x="394" y="669"/>
                    </a:cubicBezTo>
                    <a:cubicBezTo>
                      <a:pt x="394" y="669"/>
                      <a:pt x="394" y="669"/>
                      <a:pt x="376" y="651"/>
                    </a:cubicBezTo>
                    <a:cubicBezTo>
                      <a:pt x="376" y="651"/>
                      <a:pt x="376" y="651"/>
                      <a:pt x="343" y="617"/>
                    </a:cubicBezTo>
                    <a:cubicBezTo>
                      <a:pt x="343" y="617"/>
                      <a:pt x="343" y="617"/>
                      <a:pt x="343" y="617"/>
                    </a:cubicBezTo>
                    <a:cubicBezTo>
                      <a:pt x="344" y="617"/>
                      <a:pt x="344" y="617"/>
                      <a:pt x="344" y="617"/>
                    </a:cubicBezTo>
                    <a:cubicBezTo>
                      <a:pt x="349" y="612"/>
                      <a:pt x="356" y="609"/>
                      <a:pt x="364" y="609"/>
                    </a:cubicBezTo>
                    <a:cubicBezTo>
                      <a:pt x="364" y="609"/>
                      <a:pt x="365" y="609"/>
                      <a:pt x="365" y="609"/>
                    </a:cubicBezTo>
                    <a:cubicBezTo>
                      <a:pt x="368" y="608"/>
                      <a:pt x="372" y="609"/>
                      <a:pt x="375" y="609"/>
                    </a:cubicBezTo>
                    <a:cubicBezTo>
                      <a:pt x="380" y="610"/>
                      <a:pt x="385" y="613"/>
                      <a:pt x="390" y="616"/>
                    </a:cubicBezTo>
                    <a:cubicBezTo>
                      <a:pt x="390" y="616"/>
                      <a:pt x="390" y="616"/>
                      <a:pt x="399" y="623"/>
                    </a:cubicBezTo>
                    <a:cubicBezTo>
                      <a:pt x="399" y="623"/>
                      <a:pt x="399" y="623"/>
                      <a:pt x="418" y="638"/>
                    </a:cubicBezTo>
                    <a:cubicBezTo>
                      <a:pt x="418" y="638"/>
                      <a:pt x="418" y="638"/>
                      <a:pt x="439" y="654"/>
                    </a:cubicBezTo>
                    <a:cubicBezTo>
                      <a:pt x="439" y="654"/>
                      <a:pt x="439" y="654"/>
                      <a:pt x="459" y="669"/>
                    </a:cubicBezTo>
                    <a:cubicBezTo>
                      <a:pt x="459" y="669"/>
                      <a:pt x="459" y="669"/>
                      <a:pt x="459" y="669"/>
                    </a:cubicBezTo>
                    <a:cubicBezTo>
                      <a:pt x="461" y="671"/>
                      <a:pt x="462" y="672"/>
                      <a:pt x="464" y="673"/>
                    </a:cubicBezTo>
                    <a:cubicBezTo>
                      <a:pt x="465" y="673"/>
                      <a:pt x="466" y="673"/>
                      <a:pt x="467" y="674"/>
                    </a:cubicBezTo>
                    <a:cubicBezTo>
                      <a:pt x="468" y="674"/>
                      <a:pt x="468" y="674"/>
                      <a:pt x="469" y="674"/>
                    </a:cubicBezTo>
                    <a:cubicBezTo>
                      <a:pt x="473" y="676"/>
                      <a:pt x="478" y="676"/>
                      <a:pt x="483" y="675"/>
                    </a:cubicBezTo>
                    <a:cubicBezTo>
                      <a:pt x="483" y="675"/>
                      <a:pt x="483" y="675"/>
                      <a:pt x="484" y="675"/>
                    </a:cubicBezTo>
                    <a:cubicBezTo>
                      <a:pt x="484" y="675"/>
                      <a:pt x="485" y="675"/>
                      <a:pt x="485" y="675"/>
                    </a:cubicBezTo>
                    <a:cubicBezTo>
                      <a:pt x="485" y="675"/>
                      <a:pt x="485" y="675"/>
                      <a:pt x="485" y="675"/>
                    </a:cubicBezTo>
                    <a:cubicBezTo>
                      <a:pt x="486" y="675"/>
                      <a:pt x="487" y="674"/>
                      <a:pt x="487" y="674"/>
                    </a:cubicBezTo>
                    <a:cubicBezTo>
                      <a:pt x="487" y="674"/>
                      <a:pt x="488" y="674"/>
                      <a:pt x="488" y="674"/>
                    </a:cubicBezTo>
                    <a:cubicBezTo>
                      <a:pt x="488" y="674"/>
                      <a:pt x="488" y="674"/>
                      <a:pt x="488" y="674"/>
                    </a:cubicBezTo>
                    <a:cubicBezTo>
                      <a:pt x="489" y="674"/>
                      <a:pt x="489" y="674"/>
                      <a:pt x="489" y="674"/>
                    </a:cubicBezTo>
                    <a:cubicBezTo>
                      <a:pt x="490" y="673"/>
                      <a:pt x="490" y="673"/>
                      <a:pt x="491" y="673"/>
                    </a:cubicBezTo>
                    <a:cubicBezTo>
                      <a:pt x="491" y="673"/>
                      <a:pt x="492" y="673"/>
                      <a:pt x="492" y="673"/>
                    </a:cubicBezTo>
                    <a:cubicBezTo>
                      <a:pt x="493" y="672"/>
                      <a:pt x="493" y="671"/>
                      <a:pt x="494" y="671"/>
                    </a:cubicBezTo>
                    <a:cubicBezTo>
                      <a:pt x="494" y="671"/>
                      <a:pt x="494" y="671"/>
                      <a:pt x="494" y="671"/>
                    </a:cubicBezTo>
                    <a:cubicBezTo>
                      <a:pt x="495" y="671"/>
                      <a:pt x="495" y="670"/>
                      <a:pt x="496" y="670"/>
                    </a:cubicBezTo>
                    <a:cubicBezTo>
                      <a:pt x="496" y="670"/>
                      <a:pt x="496" y="670"/>
                      <a:pt x="496" y="670"/>
                    </a:cubicBezTo>
                    <a:cubicBezTo>
                      <a:pt x="497" y="669"/>
                      <a:pt x="497" y="669"/>
                      <a:pt x="498" y="669"/>
                    </a:cubicBezTo>
                    <a:cubicBezTo>
                      <a:pt x="499" y="668"/>
                      <a:pt x="499" y="667"/>
                      <a:pt x="500" y="667"/>
                    </a:cubicBezTo>
                    <a:cubicBezTo>
                      <a:pt x="500" y="666"/>
                      <a:pt x="501" y="666"/>
                      <a:pt x="501" y="665"/>
                    </a:cubicBezTo>
                    <a:cubicBezTo>
                      <a:pt x="501" y="665"/>
                      <a:pt x="502" y="664"/>
                      <a:pt x="503" y="663"/>
                    </a:cubicBezTo>
                    <a:cubicBezTo>
                      <a:pt x="503" y="663"/>
                      <a:pt x="503" y="663"/>
                      <a:pt x="503" y="662"/>
                    </a:cubicBezTo>
                    <a:cubicBezTo>
                      <a:pt x="508" y="657"/>
                      <a:pt x="509" y="649"/>
                      <a:pt x="509" y="642"/>
                    </a:cubicBezTo>
                    <a:cubicBezTo>
                      <a:pt x="509" y="637"/>
                      <a:pt x="507" y="633"/>
                      <a:pt x="505" y="629"/>
                    </a:cubicBezTo>
                    <a:cubicBezTo>
                      <a:pt x="505" y="628"/>
                      <a:pt x="504" y="627"/>
                      <a:pt x="504" y="627"/>
                    </a:cubicBezTo>
                    <a:cubicBezTo>
                      <a:pt x="503" y="625"/>
                      <a:pt x="500" y="623"/>
                      <a:pt x="499" y="621"/>
                    </a:cubicBezTo>
                    <a:cubicBezTo>
                      <a:pt x="499" y="621"/>
                      <a:pt x="499" y="621"/>
                      <a:pt x="497" y="621"/>
                    </a:cubicBezTo>
                    <a:cubicBezTo>
                      <a:pt x="497" y="621"/>
                      <a:pt x="497" y="621"/>
                      <a:pt x="479" y="604"/>
                    </a:cubicBezTo>
                    <a:cubicBezTo>
                      <a:pt x="479" y="604"/>
                      <a:pt x="479" y="604"/>
                      <a:pt x="459" y="587"/>
                    </a:cubicBezTo>
                    <a:cubicBezTo>
                      <a:pt x="459" y="587"/>
                      <a:pt x="459" y="587"/>
                      <a:pt x="438" y="570"/>
                    </a:cubicBezTo>
                    <a:cubicBezTo>
                      <a:pt x="438" y="570"/>
                      <a:pt x="438" y="570"/>
                      <a:pt x="419" y="553"/>
                    </a:cubicBezTo>
                    <a:cubicBezTo>
                      <a:pt x="419" y="553"/>
                      <a:pt x="419" y="553"/>
                      <a:pt x="393" y="531"/>
                    </a:cubicBezTo>
                    <a:cubicBezTo>
                      <a:pt x="393" y="531"/>
                      <a:pt x="393" y="531"/>
                      <a:pt x="384" y="523"/>
                    </a:cubicBezTo>
                    <a:cubicBezTo>
                      <a:pt x="384" y="523"/>
                      <a:pt x="384" y="523"/>
                      <a:pt x="384" y="523"/>
                    </a:cubicBezTo>
                    <a:cubicBezTo>
                      <a:pt x="384" y="523"/>
                      <a:pt x="384" y="523"/>
                      <a:pt x="384" y="523"/>
                    </a:cubicBezTo>
                    <a:cubicBezTo>
                      <a:pt x="384" y="523"/>
                      <a:pt x="384" y="523"/>
                      <a:pt x="384" y="523"/>
                    </a:cubicBezTo>
                    <a:cubicBezTo>
                      <a:pt x="384" y="523"/>
                      <a:pt x="384" y="523"/>
                      <a:pt x="374" y="515"/>
                    </a:cubicBezTo>
                    <a:cubicBezTo>
                      <a:pt x="374" y="515"/>
                      <a:pt x="374" y="515"/>
                      <a:pt x="347" y="492"/>
                    </a:cubicBezTo>
                    <a:cubicBezTo>
                      <a:pt x="347" y="492"/>
                      <a:pt x="347" y="492"/>
                      <a:pt x="328" y="475"/>
                    </a:cubicBezTo>
                    <a:cubicBezTo>
                      <a:pt x="328" y="475"/>
                      <a:pt x="328" y="475"/>
                      <a:pt x="305" y="457"/>
                    </a:cubicBezTo>
                    <a:cubicBezTo>
                      <a:pt x="302" y="454"/>
                      <a:pt x="301" y="451"/>
                      <a:pt x="299" y="448"/>
                    </a:cubicBezTo>
                    <a:cubicBezTo>
                      <a:pt x="299" y="448"/>
                      <a:pt x="299" y="448"/>
                      <a:pt x="299" y="447"/>
                    </a:cubicBezTo>
                    <a:cubicBezTo>
                      <a:pt x="299" y="445"/>
                      <a:pt x="298" y="444"/>
                      <a:pt x="298" y="442"/>
                    </a:cubicBezTo>
                    <a:cubicBezTo>
                      <a:pt x="298" y="441"/>
                      <a:pt x="298" y="441"/>
                      <a:pt x="298" y="441"/>
                    </a:cubicBezTo>
                    <a:cubicBezTo>
                      <a:pt x="299" y="439"/>
                      <a:pt x="299" y="437"/>
                      <a:pt x="299" y="436"/>
                    </a:cubicBezTo>
                    <a:cubicBezTo>
                      <a:pt x="300" y="434"/>
                      <a:pt x="301" y="433"/>
                      <a:pt x="302" y="432"/>
                    </a:cubicBezTo>
                    <a:cubicBezTo>
                      <a:pt x="302" y="431"/>
                      <a:pt x="302" y="431"/>
                      <a:pt x="302" y="430"/>
                    </a:cubicBezTo>
                    <a:cubicBezTo>
                      <a:pt x="302" y="430"/>
                      <a:pt x="302" y="430"/>
                      <a:pt x="303" y="430"/>
                    </a:cubicBezTo>
                    <a:cubicBezTo>
                      <a:pt x="303" y="430"/>
                      <a:pt x="303" y="430"/>
                      <a:pt x="303" y="430"/>
                    </a:cubicBezTo>
                    <a:cubicBezTo>
                      <a:pt x="303" y="430"/>
                      <a:pt x="303" y="430"/>
                      <a:pt x="303" y="430"/>
                    </a:cubicBezTo>
                    <a:cubicBezTo>
                      <a:pt x="304" y="429"/>
                      <a:pt x="304" y="429"/>
                      <a:pt x="304" y="429"/>
                    </a:cubicBezTo>
                    <a:cubicBezTo>
                      <a:pt x="305" y="428"/>
                      <a:pt x="305" y="428"/>
                      <a:pt x="305" y="428"/>
                    </a:cubicBezTo>
                    <a:cubicBezTo>
                      <a:pt x="305" y="428"/>
                      <a:pt x="305" y="428"/>
                      <a:pt x="306" y="427"/>
                    </a:cubicBezTo>
                    <a:cubicBezTo>
                      <a:pt x="306" y="427"/>
                      <a:pt x="307" y="426"/>
                      <a:pt x="307" y="426"/>
                    </a:cubicBezTo>
                    <a:cubicBezTo>
                      <a:pt x="308" y="426"/>
                      <a:pt x="309" y="425"/>
                      <a:pt x="310" y="425"/>
                    </a:cubicBezTo>
                    <a:cubicBezTo>
                      <a:pt x="310" y="425"/>
                      <a:pt x="310" y="425"/>
                      <a:pt x="310" y="425"/>
                    </a:cubicBezTo>
                    <a:cubicBezTo>
                      <a:pt x="312" y="424"/>
                      <a:pt x="312" y="424"/>
                      <a:pt x="313" y="424"/>
                    </a:cubicBezTo>
                    <a:cubicBezTo>
                      <a:pt x="313" y="424"/>
                      <a:pt x="313" y="424"/>
                      <a:pt x="313" y="424"/>
                    </a:cubicBezTo>
                    <a:cubicBezTo>
                      <a:pt x="314" y="424"/>
                      <a:pt x="315" y="423"/>
                      <a:pt x="316" y="423"/>
                    </a:cubicBezTo>
                    <a:cubicBezTo>
                      <a:pt x="317" y="423"/>
                      <a:pt x="318" y="423"/>
                      <a:pt x="319" y="423"/>
                    </a:cubicBezTo>
                    <a:cubicBezTo>
                      <a:pt x="320" y="423"/>
                      <a:pt x="320" y="423"/>
                      <a:pt x="320" y="423"/>
                    </a:cubicBezTo>
                    <a:cubicBezTo>
                      <a:pt x="320" y="423"/>
                      <a:pt x="321" y="423"/>
                      <a:pt x="321" y="423"/>
                    </a:cubicBezTo>
                    <a:cubicBezTo>
                      <a:pt x="322" y="424"/>
                      <a:pt x="323" y="424"/>
                      <a:pt x="324" y="424"/>
                    </a:cubicBezTo>
                    <a:cubicBezTo>
                      <a:pt x="326" y="425"/>
                      <a:pt x="328" y="426"/>
                      <a:pt x="330" y="428"/>
                    </a:cubicBezTo>
                    <a:cubicBezTo>
                      <a:pt x="331" y="429"/>
                      <a:pt x="340" y="436"/>
                      <a:pt x="352" y="446"/>
                    </a:cubicBezTo>
                    <a:cubicBezTo>
                      <a:pt x="358" y="452"/>
                      <a:pt x="365" y="457"/>
                      <a:pt x="372" y="463"/>
                    </a:cubicBezTo>
                    <a:cubicBezTo>
                      <a:pt x="381" y="470"/>
                      <a:pt x="390" y="478"/>
                      <a:pt x="399" y="485"/>
                    </a:cubicBezTo>
                    <a:cubicBezTo>
                      <a:pt x="405" y="491"/>
                      <a:pt x="412" y="497"/>
                      <a:pt x="418" y="502"/>
                    </a:cubicBezTo>
                    <a:cubicBezTo>
                      <a:pt x="428" y="509"/>
                      <a:pt x="436" y="517"/>
                      <a:pt x="444" y="523"/>
                    </a:cubicBezTo>
                    <a:cubicBezTo>
                      <a:pt x="451" y="529"/>
                      <a:pt x="458" y="535"/>
                      <a:pt x="464" y="539"/>
                    </a:cubicBezTo>
                    <a:cubicBezTo>
                      <a:pt x="475" y="549"/>
                      <a:pt x="482" y="555"/>
                      <a:pt x="482" y="555"/>
                    </a:cubicBezTo>
                    <a:cubicBezTo>
                      <a:pt x="482" y="555"/>
                      <a:pt x="482" y="555"/>
                      <a:pt x="482" y="555"/>
                    </a:cubicBezTo>
                    <a:cubicBezTo>
                      <a:pt x="483" y="555"/>
                      <a:pt x="483" y="556"/>
                      <a:pt x="483" y="556"/>
                    </a:cubicBezTo>
                    <a:cubicBezTo>
                      <a:pt x="484" y="556"/>
                      <a:pt x="484" y="556"/>
                      <a:pt x="484" y="556"/>
                    </a:cubicBezTo>
                    <a:cubicBezTo>
                      <a:pt x="485" y="557"/>
                      <a:pt x="487" y="557"/>
                      <a:pt x="488" y="557"/>
                    </a:cubicBezTo>
                    <a:cubicBezTo>
                      <a:pt x="488" y="557"/>
                      <a:pt x="488" y="557"/>
                      <a:pt x="488" y="557"/>
                    </a:cubicBezTo>
                    <a:cubicBezTo>
                      <a:pt x="488" y="557"/>
                      <a:pt x="488" y="557"/>
                      <a:pt x="489" y="557"/>
                    </a:cubicBezTo>
                    <a:cubicBezTo>
                      <a:pt x="489" y="558"/>
                      <a:pt x="489" y="558"/>
                      <a:pt x="489" y="558"/>
                    </a:cubicBezTo>
                    <a:cubicBezTo>
                      <a:pt x="489" y="558"/>
                      <a:pt x="489" y="558"/>
                      <a:pt x="490" y="558"/>
                    </a:cubicBezTo>
                    <a:cubicBezTo>
                      <a:pt x="491" y="557"/>
                      <a:pt x="491" y="557"/>
                      <a:pt x="492" y="557"/>
                    </a:cubicBezTo>
                    <a:cubicBezTo>
                      <a:pt x="493" y="557"/>
                      <a:pt x="493" y="557"/>
                      <a:pt x="494" y="557"/>
                    </a:cubicBezTo>
                    <a:cubicBezTo>
                      <a:pt x="496" y="556"/>
                      <a:pt x="497" y="555"/>
                      <a:pt x="498" y="554"/>
                    </a:cubicBezTo>
                    <a:cubicBezTo>
                      <a:pt x="498" y="554"/>
                      <a:pt x="498" y="554"/>
                      <a:pt x="498" y="554"/>
                    </a:cubicBezTo>
                    <a:cubicBezTo>
                      <a:pt x="498" y="554"/>
                      <a:pt x="498" y="554"/>
                      <a:pt x="499" y="553"/>
                    </a:cubicBezTo>
                    <a:cubicBezTo>
                      <a:pt x="499" y="553"/>
                      <a:pt x="499" y="553"/>
                      <a:pt x="499" y="553"/>
                    </a:cubicBezTo>
                    <a:cubicBezTo>
                      <a:pt x="501" y="550"/>
                      <a:pt x="502" y="547"/>
                      <a:pt x="501" y="543"/>
                    </a:cubicBezTo>
                    <a:cubicBezTo>
                      <a:pt x="501" y="543"/>
                      <a:pt x="501" y="542"/>
                      <a:pt x="501" y="542"/>
                    </a:cubicBezTo>
                    <a:cubicBezTo>
                      <a:pt x="501" y="542"/>
                      <a:pt x="501" y="541"/>
                      <a:pt x="501" y="540"/>
                    </a:cubicBezTo>
                    <a:cubicBezTo>
                      <a:pt x="501" y="540"/>
                      <a:pt x="501" y="540"/>
                      <a:pt x="501" y="540"/>
                    </a:cubicBezTo>
                    <a:cubicBezTo>
                      <a:pt x="500" y="539"/>
                      <a:pt x="500" y="538"/>
                      <a:pt x="500" y="538"/>
                    </a:cubicBezTo>
                    <a:cubicBezTo>
                      <a:pt x="499" y="537"/>
                      <a:pt x="499" y="537"/>
                      <a:pt x="499" y="537"/>
                    </a:cubicBezTo>
                    <a:cubicBezTo>
                      <a:pt x="499" y="537"/>
                      <a:pt x="499" y="537"/>
                      <a:pt x="499" y="537"/>
                    </a:cubicBezTo>
                    <a:cubicBezTo>
                      <a:pt x="499" y="537"/>
                      <a:pt x="499" y="537"/>
                      <a:pt x="498" y="535"/>
                    </a:cubicBezTo>
                    <a:cubicBezTo>
                      <a:pt x="498" y="535"/>
                      <a:pt x="491" y="529"/>
                      <a:pt x="480" y="520"/>
                    </a:cubicBezTo>
                    <a:cubicBezTo>
                      <a:pt x="474" y="515"/>
                      <a:pt x="467" y="510"/>
                      <a:pt x="460" y="503"/>
                    </a:cubicBezTo>
                    <a:cubicBezTo>
                      <a:pt x="452" y="497"/>
                      <a:pt x="444" y="490"/>
                      <a:pt x="436" y="483"/>
                    </a:cubicBezTo>
                    <a:cubicBezTo>
                      <a:pt x="429" y="477"/>
                      <a:pt x="422" y="471"/>
                      <a:pt x="416" y="466"/>
                    </a:cubicBezTo>
                    <a:cubicBezTo>
                      <a:pt x="406" y="457"/>
                      <a:pt x="396" y="449"/>
                      <a:pt x="389" y="443"/>
                    </a:cubicBezTo>
                    <a:cubicBezTo>
                      <a:pt x="379" y="435"/>
                      <a:pt x="372" y="429"/>
                      <a:pt x="372" y="429"/>
                    </a:cubicBezTo>
                    <a:cubicBezTo>
                      <a:pt x="372" y="429"/>
                      <a:pt x="372" y="429"/>
                      <a:pt x="372" y="429"/>
                    </a:cubicBezTo>
                    <a:cubicBezTo>
                      <a:pt x="372" y="428"/>
                      <a:pt x="371" y="428"/>
                      <a:pt x="370" y="427"/>
                    </a:cubicBezTo>
                    <a:cubicBezTo>
                      <a:pt x="370" y="427"/>
                      <a:pt x="370" y="426"/>
                      <a:pt x="370" y="426"/>
                    </a:cubicBezTo>
                    <a:cubicBezTo>
                      <a:pt x="369" y="426"/>
                      <a:pt x="369" y="426"/>
                      <a:pt x="369" y="425"/>
                    </a:cubicBezTo>
                    <a:cubicBezTo>
                      <a:pt x="369" y="425"/>
                      <a:pt x="369" y="425"/>
                      <a:pt x="369" y="425"/>
                    </a:cubicBezTo>
                    <a:cubicBezTo>
                      <a:pt x="368" y="424"/>
                      <a:pt x="368" y="424"/>
                      <a:pt x="368" y="423"/>
                    </a:cubicBezTo>
                    <a:cubicBezTo>
                      <a:pt x="366" y="421"/>
                      <a:pt x="366" y="419"/>
                      <a:pt x="366" y="416"/>
                    </a:cubicBezTo>
                    <a:cubicBezTo>
                      <a:pt x="366" y="416"/>
                      <a:pt x="366" y="416"/>
                      <a:pt x="366" y="416"/>
                    </a:cubicBezTo>
                    <a:cubicBezTo>
                      <a:pt x="366" y="413"/>
                      <a:pt x="366" y="410"/>
                      <a:pt x="368" y="408"/>
                    </a:cubicBezTo>
                    <a:cubicBezTo>
                      <a:pt x="368" y="407"/>
                      <a:pt x="369" y="406"/>
                      <a:pt x="369" y="405"/>
                    </a:cubicBezTo>
                    <a:cubicBezTo>
                      <a:pt x="370" y="405"/>
                      <a:pt x="370" y="404"/>
                      <a:pt x="371" y="404"/>
                    </a:cubicBezTo>
                    <a:cubicBezTo>
                      <a:pt x="371" y="404"/>
                      <a:pt x="371" y="404"/>
                      <a:pt x="371" y="404"/>
                    </a:cubicBezTo>
                    <a:cubicBezTo>
                      <a:pt x="371" y="403"/>
                      <a:pt x="371" y="403"/>
                      <a:pt x="372" y="403"/>
                    </a:cubicBezTo>
                    <a:cubicBezTo>
                      <a:pt x="376" y="398"/>
                      <a:pt x="382" y="397"/>
                      <a:pt x="388" y="398"/>
                    </a:cubicBezTo>
                    <a:cubicBezTo>
                      <a:pt x="389" y="399"/>
                      <a:pt x="390" y="399"/>
                      <a:pt x="391" y="400"/>
                    </a:cubicBezTo>
                    <a:cubicBezTo>
                      <a:pt x="391" y="400"/>
                      <a:pt x="392" y="400"/>
                      <a:pt x="392" y="400"/>
                    </a:cubicBezTo>
                    <a:cubicBezTo>
                      <a:pt x="393" y="401"/>
                      <a:pt x="394" y="401"/>
                      <a:pt x="394" y="402"/>
                    </a:cubicBezTo>
                    <a:cubicBezTo>
                      <a:pt x="395" y="402"/>
                      <a:pt x="395" y="402"/>
                      <a:pt x="395" y="402"/>
                    </a:cubicBezTo>
                    <a:cubicBezTo>
                      <a:pt x="395" y="402"/>
                      <a:pt x="395" y="402"/>
                      <a:pt x="412" y="417"/>
                    </a:cubicBezTo>
                    <a:cubicBezTo>
                      <a:pt x="412" y="417"/>
                      <a:pt x="412" y="417"/>
                      <a:pt x="438" y="440"/>
                    </a:cubicBezTo>
                    <a:cubicBezTo>
                      <a:pt x="438" y="440"/>
                      <a:pt x="438" y="440"/>
                      <a:pt x="458" y="456"/>
                    </a:cubicBezTo>
                    <a:cubicBezTo>
                      <a:pt x="458" y="456"/>
                      <a:pt x="458" y="456"/>
                      <a:pt x="482" y="476"/>
                    </a:cubicBezTo>
                    <a:cubicBezTo>
                      <a:pt x="482" y="476"/>
                      <a:pt x="482" y="476"/>
                      <a:pt x="502" y="493"/>
                    </a:cubicBezTo>
                    <a:cubicBezTo>
                      <a:pt x="502" y="493"/>
                      <a:pt x="502" y="493"/>
                      <a:pt x="521" y="509"/>
                    </a:cubicBezTo>
                    <a:cubicBezTo>
                      <a:pt x="521" y="509"/>
                      <a:pt x="521" y="509"/>
                      <a:pt x="523" y="510"/>
                    </a:cubicBezTo>
                    <a:cubicBezTo>
                      <a:pt x="523" y="511"/>
                      <a:pt x="523" y="511"/>
                      <a:pt x="524" y="511"/>
                    </a:cubicBezTo>
                    <a:cubicBezTo>
                      <a:pt x="527" y="513"/>
                      <a:pt x="530" y="514"/>
                      <a:pt x="533" y="513"/>
                    </a:cubicBezTo>
                    <a:cubicBezTo>
                      <a:pt x="534" y="513"/>
                      <a:pt x="535" y="513"/>
                      <a:pt x="537" y="512"/>
                    </a:cubicBezTo>
                    <a:cubicBezTo>
                      <a:pt x="537" y="511"/>
                      <a:pt x="538" y="511"/>
                      <a:pt x="539" y="510"/>
                    </a:cubicBezTo>
                    <a:cubicBezTo>
                      <a:pt x="539" y="510"/>
                      <a:pt x="539" y="510"/>
                      <a:pt x="539" y="510"/>
                    </a:cubicBezTo>
                    <a:cubicBezTo>
                      <a:pt x="539" y="510"/>
                      <a:pt x="539" y="510"/>
                      <a:pt x="540" y="510"/>
                    </a:cubicBezTo>
                    <a:cubicBezTo>
                      <a:pt x="540" y="509"/>
                      <a:pt x="540" y="509"/>
                      <a:pt x="540" y="509"/>
                    </a:cubicBezTo>
                    <a:cubicBezTo>
                      <a:pt x="542" y="507"/>
                      <a:pt x="543" y="504"/>
                      <a:pt x="544" y="502"/>
                    </a:cubicBezTo>
                    <a:cubicBezTo>
                      <a:pt x="544" y="502"/>
                      <a:pt x="544" y="502"/>
                      <a:pt x="544" y="501"/>
                    </a:cubicBezTo>
                    <a:cubicBezTo>
                      <a:pt x="544" y="501"/>
                      <a:pt x="544" y="501"/>
                      <a:pt x="544" y="501"/>
                    </a:cubicBezTo>
                    <a:cubicBezTo>
                      <a:pt x="544" y="501"/>
                      <a:pt x="544" y="501"/>
                      <a:pt x="544" y="499"/>
                    </a:cubicBezTo>
                    <a:cubicBezTo>
                      <a:pt x="543" y="496"/>
                      <a:pt x="541" y="493"/>
                      <a:pt x="539" y="490"/>
                    </a:cubicBezTo>
                    <a:cubicBezTo>
                      <a:pt x="539" y="490"/>
                      <a:pt x="539" y="490"/>
                      <a:pt x="499" y="456"/>
                    </a:cubicBezTo>
                    <a:cubicBezTo>
                      <a:pt x="499" y="456"/>
                      <a:pt x="499" y="456"/>
                      <a:pt x="476" y="437"/>
                    </a:cubicBezTo>
                    <a:cubicBezTo>
                      <a:pt x="476" y="437"/>
                      <a:pt x="476" y="437"/>
                      <a:pt x="456" y="420"/>
                    </a:cubicBezTo>
                    <a:cubicBezTo>
                      <a:pt x="456" y="420"/>
                      <a:pt x="456" y="420"/>
                      <a:pt x="429" y="397"/>
                    </a:cubicBezTo>
                    <a:cubicBezTo>
                      <a:pt x="429" y="397"/>
                      <a:pt x="429" y="397"/>
                      <a:pt x="428" y="397"/>
                    </a:cubicBezTo>
                    <a:cubicBezTo>
                      <a:pt x="428" y="396"/>
                      <a:pt x="428" y="396"/>
                      <a:pt x="428" y="396"/>
                    </a:cubicBezTo>
                    <a:cubicBezTo>
                      <a:pt x="428" y="396"/>
                      <a:pt x="428" y="396"/>
                      <a:pt x="427" y="396"/>
                    </a:cubicBezTo>
                    <a:cubicBezTo>
                      <a:pt x="427" y="395"/>
                      <a:pt x="426" y="394"/>
                      <a:pt x="426" y="394"/>
                    </a:cubicBezTo>
                    <a:cubicBezTo>
                      <a:pt x="426" y="393"/>
                      <a:pt x="425" y="393"/>
                      <a:pt x="425" y="392"/>
                    </a:cubicBezTo>
                    <a:cubicBezTo>
                      <a:pt x="424" y="390"/>
                      <a:pt x="424" y="389"/>
                      <a:pt x="423" y="388"/>
                    </a:cubicBezTo>
                    <a:cubicBezTo>
                      <a:pt x="423" y="388"/>
                      <a:pt x="423" y="388"/>
                      <a:pt x="423" y="387"/>
                    </a:cubicBezTo>
                    <a:cubicBezTo>
                      <a:pt x="423" y="386"/>
                      <a:pt x="423" y="386"/>
                      <a:pt x="423" y="386"/>
                    </a:cubicBezTo>
                    <a:cubicBezTo>
                      <a:pt x="423" y="386"/>
                      <a:pt x="423" y="386"/>
                      <a:pt x="423" y="385"/>
                    </a:cubicBezTo>
                    <a:cubicBezTo>
                      <a:pt x="423" y="384"/>
                      <a:pt x="424" y="382"/>
                      <a:pt x="424" y="380"/>
                    </a:cubicBezTo>
                    <a:cubicBezTo>
                      <a:pt x="424" y="380"/>
                      <a:pt x="424" y="380"/>
                      <a:pt x="424" y="380"/>
                    </a:cubicBezTo>
                    <a:cubicBezTo>
                      <a:pt x="424" y="380"/>
                      <a:pt x="425" y="380"/>
                      <a:pt x="425" y="379"/>
                    </a:cubicBezTo>
                    <a:cubicBezTo>
                      <a:pt x="425" y="379"/>
                      <a:pt x="425" y="378"/>
                      <a:pt x="425" y="378"/>
                    </a:cubicBezTo>
                    <a:cubicBezTo>
                      <a:pt x="425" y="378"/>
                      <a:pt x="425" y="378"/>
                      <a:pt x="425" y="378"/>
                    </a:cubicBezTo>
                    <a:cubicBezTo>
                      <a:pt x="425" y="377"/>
                      <a:pt x="425" y="377"/>
                      <a:pt x="425" y="377"/>
                    </a:cubicBezTo>
                    <a:cubicBezTo>
                      <a:pt x="426" y="377"/>
                      <a:pt x="426" y="376"/>
                      <a:pt x="427" y="375"/>
                    </a:cubicBezTo>
                    <a:cubicBezTo>
                      <a:pt x="427" y="375"/>
                      <a:pt x="427" y="375"/>
                      <a:pt x="428" y="374"/>
                    </a:cubicBezTo>
                    <a:cubicBezTo>
                      <a:pt x="428" y="374"/>
                      <a:pt x="428" y="374"/>
                      <a:pt x="428" y="374"/>
                    </a:cubicBezTo>
                    <a:cubicBezTo>
                      <a:pt x="428" y="374"/>
                      <a:pt x="428" y="374"/>
                      <a:pt x="428" y="374"/>
                    </a:cubicBezTo>
                    <a:cubicBezTo>
                      <a:pt x="428" y="374"/>
                      <a:pt x="428" y="374"/>
                      <a:pt x="428" y="374"/>
                    </a:cubicBezTo>
                    <a:cubicBezTo>
                      <a:pt x="428" y="374"/>
                      <a:pt x="428" y="374"/>
                      <a:pt x="429" y="374"/>
                    </a:cubicBezTo>
                    <a:cubicBezTo>
                      <a:pt x="429" y="374"/>
                      <a:pt x="429" y="374"/>
                      <a:pt x="429" y="373"/>
                    </a:cubicBezTo>
                    <a:cubicBezTo>
                      <a:pt x="429" y="373"/>
                      <a:pt x="429" y="373"/>
                      <a:pt x="429" y="373"/>
                    </a:cubicBezTo>
                    <a:cubicBezTo>
                      <a:pt x="429" y="373"/>
                      <a:pt x="430" y="373"/>
                      <a:pt x="430" y="373"/>
                    </a:cubicBezTo>
                    <a:cubicBezTo>
                      <a:pt x="430" y="372"/>
                      <a:pt x="430" y="372"/>
                      <a:pt x="431" y="372"/>
                    </a:cubicBezTo>
                    <a:cubicBezTo>
                      <a:pt x="432" y="372"/>
                      <a:pt x="433" y="371"/>
                      <a:pt x="433" y="371"/>
                    </a:cubicBezTo>
                    <a:cubicBezTo>
                      <a:pt x="436" y="370"/>
                      <a:pt x="440" y="370"/>
                      <a:pt x="443" y="371"/>
                    </a:cubicBezTo>
                    <a:cubicBezTo>
                      <a:pt x="444" y="372"/>
                      <a:pt x="446" y="372"/>
                      <a:pt x="447" y="373"/>
                    </a:cubicBezTo>
                    <a:cubicBezTo>
                      <a:pt x="448" y="373"/>
                      <a:pt x="448" y="373"/>
                      <a:pt x="448" y="373"/>
                    </a:cubicBezTo>
                    <a:cubicBezTo>
                      <a:pt x="448" y="373"/>
                      <a:pt x="448" y="374"/>
                      <a:pt x="448" y="374"/>
                    </a:cubicBezTo>
                    <a:cubicBezTo>
                      <a:pt x="451" y="376"/>
                      <a:pt x="462" y="385"/>
                      <a:pt x="476" y="396"/>
                    </a:cubicBezTo>
                    <a:cubicBezTo>
                      <a:pt x="493" y="410"/>
                      <a:pt x="516" y="429"/>
                      <a:pt x="535" y="444"/>
                    </a:cubicBezTo>
                    <a:cubicBezTo>
                      <a:pt x="552" y="458"/>
                      <a:pt x="565" y="468"/>
                      <a:pt x="566" y="469"/>
                    </a:cubicBezTo>
                    <a:cubicBezTo>
                      <a:pt x="567" y="469"/>
                      <a:pt x="567" y="469"/>
                      <a:pt x="567" y="469"/>
                    </a:cubicBezTo>
                    <a:cubicBezTo>
                      <a:pt x="568" y="469"/>
                      <a:pt x="568" y="469"/>
                      <a:pt x="568" y="469"/>
                    </a:cubicBezTo>
                    <a:cubicBezTo>
                      <a:pt x="568" y="469"/>
                      <a:pt x="568" y="469"/>
                      <a:pt x="568" y="469"/>
                    </a:cubicBezTo>
                    <a:cubicBezTo>
                      <a:pt x="568" y="469"/>
                      <a:pt x="568" y="470"/>
                      <a:pt x="569" y="470"/>
                    </a:cubicBezTo>
                    <a:cubicBezTo>
                      <a:pt x="569" y="470"/>
                      <a:pt x="570" y="470"/>
                      <a:pt x="571" y="470"/>
                    </a:cubicBezTo>
                    <a:cubicBezTo>
                      <a:pt x="571" y="470"/>
                      <a:pt x="571" y="470"/>
                      <a:pt x="572" y="470"/>
                    </a:cubicBezTo>
                    <a:cubicBezTo>
                      <a:pt x="572" y="470"/>
                      <a:pt x="572" y="470"/>
                      <a:pt x="573" y="470"/>
                    </a:cubicBezTo>
                    <a:cubicBezTo>
                      <a:pt x="576" y="470"/>
                      <a:pt x="578" y="469"/>
                      <a:pt x="580" y="468"/>
                    </a:cubicBezTo>
                    <a:cubicBezTo>
                      <a:pt x="580" y="468"/>
                      <a:pt x="580" y="468"/>
                      <a:pt x="580" y="467"/>
                    </a:cubicBezTo>
                    <a:cubicBezTo>
                      <a:pt x="581" y="467"/>
                      <a:pt x="581" y="467"/>
                      <a:pt x="581" y="467"/>
                    </a:cubicBezTo>
                    <a:cubicBezTo>
                      <a:pt x="581" y="467"/>
                      <a:pt x="581" y="467"/>
                      <a:pt x="581" y="467"/>
                    </a:cubicBezTo>
                    <a:cubicBezTo>
                      <a:pt x="581" y="467"/>
                      <a:pt x="581" y="467"/>
                      <a:pt x="581" y="467"/>
                    </a:cubicBezTo>
                    <a:cubicBezTo>
                      <a:pt x="583" y="466"/>
                      <a:pt x="584" y="464"/>
                      <a:pt x="584" y="463"/>
                    </a:cubicBezTo>
                    <a:cubicBezTo>
                      <a:pt x="584" y="462"/>
                      <a:pt x="584" y="462"/>
                      <a:pt x="584" y="462"/>
                    </a:cubicBezTo>
                    <a:cubicBezTo>
                      <a:pt x="585" y="461"/>
                      <a:pt x="585" y="460"/>
                      <a:pt x="585" y="458"/>
                    </a:cubicBezTo>
                    <a:cubicBezTo>
                      <a:pt x="585" y="456"/>
                      <a:pt x="585" y="454"/>
                      <a:pt x="584" y="453"/>
                    </a:cubicBezTo>
                    <a:cubicBezTo>
                      <a:pt x="584" y="452"/>
                      <a:pt x="584" y="452"/>
                      <a:pt x="584" y="452"/>
                    </a:cubicBezTo>
                    <a:cubicBezTo>
                      <a:pt x="584" y="452"/>
                      <a:pt x="584" y="452"/>
                      <a:pt x="584" y="452"/>
                    </a:cubicBezTo>
                    <a:cubicBezTo>
                      <a:pt x="584" y="452"/>
                      <a:pt x="584" y="452"/>
                      <a:pt x="584" y="451"/>
                    </a:cubicBezTo>
                    <a:cubicBezTo>
                      <a:pt x="584" y="451"/>
                      <a:pt x="584" y="451"/>
                      <a:pt x="584" y="451"/>
                    </a:cubicBezTo>
                    <a:cubicBezTo>
                      <a:pt x="583" y="451"/>
                      <a:pt x="583" y="450"/>
                      <a:pt x="583" y="450"/>
                    </a:cubicBezTo>
                    <a:cubicBezTo>
                      <a:pt x="583" y="450"/>
                      <a:pt x="583" y="450"/>
                      <a:pt x="583" y="450"/>
                    </a:cubicBezTo>
                    <a:cubicBezTo>
                      <a:pt x="583" y="450"/>
                      <a:pt x="583" y="450"/>
                      <a:pt x="583" y="450"/>
                    </a:cubicBezTo>
                    <a:cubicBezTo>
                      <a:pt x="583" y="450"/>
                      <a:pt x="573" y="442"/>
                      <a:pt x="560" y="431"/>
                    </a:cubicBezTo>
                    <a:cubicBezTo>
                      <a:pt x="544" y="418"/>
                      <a:pt x="522" y="400"/>
                      <a:pt x="507" y="388"/>
                    </a:cubicBezTo>
                    <a:cubicBezTo>
                      <a:pt x="497" y="380"/>
                      <a:pt x="491" y="374"/>
                      <a:pt x="491" y="374"/>
                    </a:cubicBezTo>
                    <a:cubicBezTo>
                      <a:pt x="491" y="374"/>
                      <a:pt x="491" y="374"/>
                      <a:pt x="491" y="374"/>
                    </a:cubicBezTo>
                    <a:cubicBezTo>
                      <a:pt x="491" y="374"/>
                      <a:pt x="491" y="374"/>
                      <a:pt x="491" y="374"/>
                    </a:cubicBezTo>
                    <a:cubicBezTo>
                      <a:pt x="491" y="374"/>
                      <a:pt x="491" y="374"/>
                      <a:pt x="490" y="373"/>
                    </a:cubicBezTo>
                    <a:cubicBezTo>
                      <a:pt x="490" y="373"/>
                      <a:pt x="490" y="373"/>
                      <a:pt x="489" y="373"/>
                    </a:cubicBezTo>
                    <a:cubicBezTo>
                      <a:pt x="489" y="373"/>
                      <a:pt x="489" y="373"/>
                      <a:pt x="489" y="372"/>
                    </a:cubicBezTo>
                    <a:cubicBezTo>
                      <a:pt x="489" y="372"/>
                      <a:pt x="489" y="372"/>
                      <a:pt x="489" y="371"/>
                    </a:cubicBezTo>
                    <a:cubicBezTo>
                      <a:pt x="489" y="370"/>
                      <a:pt x="489" y="369"/>
                      <a:pt x="488" y="369"/>
                    </a:cubicBezTo>
                    <a:cubicBezTo>
                      <a:pt x="488" y="368"/>
                      <a:pt x="488" y="368"/>
                      <a:pt x="488" y="368"/>
                    </a:cubicBezTo>
                    <a:cubicBezTo>
                      <a:pt x="488" y="367"/>
                      <a:pt x="488" y="367"/>
                      <a:pt x="488" y="367"/>
                    </a:cubicBezTo>
                    <a:cubicBezTo>
                      <a:pt x="488" y="365"/>
                      <a:pt x="489" y="362"/>
                      <a:pt x="491" y="360"/>
                    </a:cubicBezTo>
                    <a:cubicBezTo>
                      <a:pt x="491" y="360"/>
                      <a:pt x="491" y="360"/>
                      <a:pt x="491" y="360"/>
                    </a:cubicBezTo>
                    <a:cubicBezTo>
                      <a:pt x="491" y="360"/>
                      <a:pt x="492" y="358"/>
                      <a:pt x="493" y="358"/>
                    </a:cubicBezTo>
                    <a:cubicBezTo>
                      <a:pt x="493" y="358"/>
                      <a:pt x="493" y="358"/>
                      <a:pt x="493" y="358"/>
                    </a:cubicBezTo>
                    <a:cubicBezTo>
                      <a:pt x="493" y="357"/>
                      <a:pt x="493" y="357"/>
                      <a:pt x="493" y="357"/>
                    </a:cubicBezTo>
                    <a:cubicBezTo>
                      <a:pt x="495" y="357"/>
                      <a:pt x="496" y="356"/>
                      <a:pt x="497" y="356"/>
                    </a:cubicBezTo>
                    <a:cubicBezTo>
                      <a:pt x="497" y="356"/>
                      <a:pt x="497" y="356"/>
                      <a:pt x="497" y="355"/>
                    </a:cubicBezTo>
                    <a:cubicBezTo>
                      <a:pt x="498" y="355"/>
                      <a:pt x="498" y="355"/>
                      <a:pt x="498" y="355"/>
                    </a:cubicBezTo>
                    <a:cubicBezTo>
                      <a:pt x="500" y="354"/>
                      <a:pt x="502" y="354"/>
                      <a:pt x="504" y="355"/>
                    </a:cubicBezTo>
                    <a:cubicBezTo>
                      <a:pt x="505" y="355"/>
                      <a:pt x="505" y="355"/>
                      <a:pt x="505" y="355"/>
                    </a:cubicBezTo>
                    <a:cubicBezTo>
                      <a:pt x="505" y="356"/>
                      <a:pt x="506" y="356"/>
                      <a:pt x="507" y="356"/>
                    </a:cubicBezTo>
                    <a:cubicBezTo>
                      <a:pt x="507" y="356"/>
                      <a:pt x="508" y="357"/>
                      <a:pt x="509" y="357"/>
                    </a:cubicBezTo>
                    <a:cubicBezTo>
                      <a:pt x="509" y="357"/>
                      <a:pt x="509" y="357"/>
                      <a:pt x="513" y="361"/>
                    </a:cubicBezTo>
                    <a:cubicBezTo>
                      <a:pt x="513" y="361"/>
                      <a:pt x="513" y="361"/>
                      <a:pt x="532" y="376"/>
                    </a:cubicBezTo>
                    <a:cubicBezTo>
                      <a:pt x="532" y="376"/>
                      <a:pt x="532" y="376"/>
                      <a:pt x="680" y="491"/>
                    </a:cubicBezTo>
                    <a:cubicBezTo>
                      <a:pt x="680" y="491"/>
                      <a:pt x="680" y="491"/>
                      <a:pt x="690" y="508"/>
                    </a:cubicBezTo>
                    <a:cubicBezTo>
                      <a:pt x="690" y="508"/>
                      <a:pt x="690" y="508"/>
                      <a:pt x="710" y="542"/>
                    </a:cubicBezTo>
                    <a:cubicBezTo>
                      <a:pt x="710" y="542"/>
                      <a:pt x="710" y="542"/>
                      <a:pt x="748" y="607"/>
                    </a:cubicBezTo>
                    <a:cubicBezTo>
                      <a:pt x="748" y="607"/>
                      <a:pt x="748" y="607"/>
                      <a:pt x="756" y="598"/>
                    </a:cubicBezTo>
                    <a:cubicBezTo>
                      <a:pt x="759" y="595"/>
                      <a:pt x="763" y="591"/>
                      <a:pt x="767" y="589"/>
                    </a:cubicBezTo>
                    <a:cubicBezTo>
                      <a:pt x="767" y="589"/>
                      <a:pt x="767" y="589"/>
                      <a:pt x="767" y="589"/>
                    </a:cubicBezTo>
                    <a:cubicBezTo>
                      <a:pt x="768" y="589"/>
                      <a:pt x="768" y="589"/>
                      <a:pt x="768" y="589"/>
                    </a:cubicBezTo>
                    <a:close/>
                    <a:moveTo>
                      <a:pt x="809" y="275"/>
                    </a:moveTo>
                    <a:cubicBezTo>
                      <a:pt x="808" y="275"/>
                      <a:pt x="807" y="275"/>
                      <a:pt x="807" y="275"/>
                    </a:cubicBezTo>
                    <a:cubicBezTo>
                      <a:pt x="799" y="276"/>
                      <a:pt x="791" y="275"/>
                      <a:pt x="784" y="271"/>
                    </a:cubicBezTo>
                    <a:cubicBezTo>
                      <a:pt x="784" y="271"/>
                      <a:pt x="784" y="271"/>
                      <a:pt x="784" y="273"/>
                    </a:cubicBezTo>
                    <a:cubicBezTo>
                      <a:pt x="784" y="273"/>
                      <a:pt x="784" y="273"/>
                      <a:pt x="775" y="388"/>
                    </a:cubicBezTo>
                    <a:cubicBezTo>
                      <a:pt x="775" y="388"/>
                      <a:pt x="775" y="388"/>
                      <a:pt x="712" y="450"/>
                    </a:cubicBezTo>
                    <a:cubicBezTo>
                      <a:pt x="712" y="450"/>
                      <a:pt x="712" y="450"/>
                      <a:pt x="713" y="451"/>
                    </a:cubicBezTo>
                    <a:cubicBezTo>
                      <a:pt x="719" y="456"/>
                      <a:pt x="722" y="461"/>
                      <a:pt x="724" y="463"/>
                    </a:cubicBezTo>
                    <a:cubicBezTo>
                      <a:pt x="724" y="463"/>
                      <a:pt x="724" y="463"/>
                      <a:pt x="724" y="464"/>
                    </a:cubicBezTo>
                    <a:cubicBezTo>
                      <a:pt x="724" y="464"/>
                      <a:pt x="724" y="464"/>
                      <a:pt x="728" y="470"/>
                    </a:cubicBezTo>
                    <a:cubicBezTo>
                      <a:pt x="728" y="470"/>
                      <a:pt x="728" y="470"/>
                      <a:pt x="797" y="401"/>
                    </a:cubicBezTo>
                    <a:cubicBezTo>
                      <a:pt x="799" y="399"/>
                      <a:pt x="800" y="395"/>
                      <a:pt x="800" y="391"/>
                    </a:cubicBezTo>
                    <a:cubicBezTo>
                      <a:pt x="805" y="334"/>
                      <a:pt x="809" y="275"/>
                      <a:pt x="809" y="275"/>
                    </a:cubicBezTo>
                    <a:close/>
                    <a:moveTo>
                      <a:pt x="878" y="164"/>
                    </a:moveTo>
                    <a:cubicBezTo>
                      <a:pt x="883" y="158"/>
                      <a:pt x="882" y="150"/>
                      <a:pt x="876" y="146"/>
                    </a:cubicBezTo>
                    <a:cubicBezTo>
                      <a:pt x="876" y="146"/>
                      <a:pt x="876" y="146"/>
                      <a:pt x="700" y="4"/>
                    </a:cubicBezTo>
                    <a:cubicBezTo>
                      <a:pt x="695" y="0"/>
                      <a:pt x="687" y="1"/>
                      <a:pt x="683" y="6"/>
                    </a:cubicBezTo>
                    <a:cubicBezTo>
                      <a:pt x="683" y="6"/>
                      <a:pt x="683" y="6"/>
                      <a:pt x="616" y="88"/>
                    </a:cubicBezTo>
                    <a:cubicBezTo>
                      <a:pt x="612" y="94"/>
                      <a:pt x="613" y="102"/>
                      <a:pt x="618" y="106"/>
                    </a:cubicBezTo>
                    <a:cubicBezTo>
                      <a:pt x="618" y="106"/>
                      <a:pt x="618" y="106"/>
                      <a:pt x="794" y="248"/>
                    </a:cubicBezTo>
                    <a:cubicBezTo>
                      <a:pt x="800" y="252"/>
                      <a:pt x="808" y="251"/>
                      <a:pt x="812" y="246"/>
                    </a:cubicBezTo>
                    <a:cubicBezTo>
                      <a:pt x="812" y="246"/>
                      <a:pt x="812" y="246"/>
                      <a:pt x="878" y="164"/>
                    </a:cubicBezTo>
                    <a:close/>
                    <a:moveTo>
                      <a:pt x="247" y="88"/>
                    </a:moveTo>
                    <a:cubicBezTo>
                      <a:pt x="251" y="83"/>
                      <a:pt x="250" y="75"/>
                      <a:pt x="245" y="70"/>
                    </a:cubicBezTo>
                    <a:cubicBezTo>
                      <a:pt x="245" y="70"/>
                      <a:pt x="245" y="70"/>
                      <a:pt x="163" y="4"/>
                    </a:cubicBezTo>
                    <a:cubicBezTo>
                      <a:pt x="157" y="0"/>
                      <a:pt x="149" y="0"/>
                      <a:pt x="145" y="6"/>
                    </a:cubicBezTo>
                    <a:cubicBezTo>
                      <a:pt x="145" y="6"/>
                      <a:pt x="145" y="6"/>
                      <a:pt x="4" y="181"/>
                    </a:cubicBezTo>
                    <a:cubicBezTo>
                      <a:pt x="0" y="187"/>
                      <a:pt x="0" y="195"/>
                      <a:pt x="6" y="199"/>
                    </a:cubicBezTo>
                    <a:cubicBezTo>
                      <a:pt x="6" y="199"/>
                      <a:pt x="6" y="199"/>
                      <a:pt x="88" y="266"/>
                    </a:cubicBezTo>
                    <a:cubicBezTo>
                      <a:pt x="93" y="270"/>
                      <a:pt x="101" y="269"/>
                      <a:pt x="106" y="263"/>
                    </a:cubicBezTo>
                    <a:cubicBezTo>
                      <a:pt x="106" y="263"/>
                      <a:pt x="106" y="263"/>
                      <a:pt x="247" y="88"/>
                    </a:cubicBezTo>
                    <a:close/>
                    <a:moveTo>
                      <a:pt x="265" y="792"/>
                    </a:moveTo>
                    <a:cubicBezTo>
                      <a:pt x="270" y="787"/>
                      <a:pt x="268" y="779"/>
                      <a:pt x="263" y="774"/>
                    </a:cubicBezTo>
                    <a:cubicBezTo>
                      <a:pt x="263" y="774"/>
                      <a:pt x="263" y="774"/>
                      <a:pt x="224" y="743"/>
                    </a:cubicBezTo>
                    <a:cubicBezTo>
                      <a:pt x="224" y="743"/>
                      <a:pt x="224" y="743"/>
                      <a:pt x="118" y="658"/>
                    </a:cubicBezTo>
                    <a:cubicBezTo>
                      <a:pt x="118" y="658"/>
                      <a:pt x="118" y="658"/>
                      <a:pt x="95" y="639"/>
                    </a:cubicBezTo>
                    <a:cubicBezTo>
                      <a:pt x="95" y="639"/>
                      <a:pt x="95" y="639"/>
                      <a:pt x="88" y="633"/>
                    </a:cubicBezTo>
                    <a:cubicBezTo>
                      <a:pt x="86" y="632"/>
                      <a:pt x="84" y="632"/>
                      <a:pt x="83" y="631"/>
                    </a:cubicBezTo>
                    <a:cubicBezTo>
                      <a:pt x="78" y="630"/>
                      <a:pt x="73" y="631"/>
                      <a:pt x="70" y="635"/>
                    </a:cubicBezTo>
                    <a:cubicBezTo>
                      <a:pt x="70" y="635"/>
                      <a:pt x="70" y="635"/>
                      <a:pt x="59" y="649"/>
                    </a:cubicBezTo>
                    <a:cubicBezTo>
                      <a:pt x="59" y="649"/>
                      <a:pt x="59" y="649"/>
                      <a:pt x="4" y="717"/>
                    </a:cubicBezTo>
                    <a:cubicBezTo>
                      <a:pt x="0" y="723"/>
                      <a:pt x="0" y="731"/>
                      <a:pt x="6" y="735"/>
                    </a:cubicBezTo>
                    <a:cubicBezTo>
                      <a:pt x="6" y="735"/>
                      <a:pt x="6" y="735"/>
                      <a:pt x="181" y="876"/>
                    </a:cubicBezTo>
                    <a:cubicBezTo>
                      <a:pt x="187" y="880"/>
                      <a:pt x="195" y="880"/>
                      <a:pt x="199" y="874"/>
                    </a:cubicBezTo>
                    <a:cubicBezTo>
                      <a:pt x="199" y="874"/>
                      <a:pt x="199" y="874"/>
                      <a:pt x="262" y="796"/>
                    </a:cubicBezTo>
                    <a:cubicBezTo>
                      <a:pt x="262" y="796"/>
                      <a:pt x="262" y="796"/>
                      <a:pt x="265" y="792"/>
                    </a:cubicBezTo>
                    <a:close/>
                    <a:moveTo>
                      <a:pt x="877" y="696"/>
                    </a:moveTo>
                    <a:cubicBezTo>
                      <a:pt x="881" y="691"/>
                      <a:pt x="881" y="683"/>
                      <a:pt x="875" y="678"/>
                    </a:cubicBezTo>
                    <a:cubicBezTo>
                      <a:pt x="875" y="678"/>
                      <a:pt x="875" y="678"/>
                      <a:pt x="797" y="615"/>
                    </a:cubicBezTo>
                    <a:cubicBezTo>
                      <a:pt x="797" y="615"/>
                      <a:pt x="797" y="615"/>
                      <a:pt x="793" y="612"/>
                    </a:cubicBezTo>
                    <a:cubicBezTo>
                      <a:pt x="787" y="608"/>
                      <a:pt x="779" y="609"/>
                      <a:pt x="775" y="614"/>
                    </a:cubicBezTo>
                    <a:cubicBezTo>
                      <a:pt x="775" y="614"/>
                      <a:pt x="775" y="614"/>
                      <a:pt x="745" y="653"/>
                    </a:cubicBezTo>
                    <a:cubicBezTo>
                      <a:pt x="745" y="653"/>
                      <a:pt x="745" y="653"/>
                      <a:pt x="659" y="758"/>
                    </a:cubicBezTo>
                    <a:cubicBezTo>
                      <a:pt x="659" y="758"/>
                      <a:pt x="659" y="758"/>
                      <a:pt x="640" y="782"/>
                    </a:cubicBezTo>
                    <a:cubicBezTo>
                      <a:pt x="640" y="782"/>
                      <a:pt x="640" y="782"/>
                      <a:pt x="634" y="790"/>
                    </a:cubicBezTo>
                    <a:cubicBezTo>
                      <a:pt x="633" y="791"/>
                      <a:pt x="632" y="793"/>
                      <a:pt x="632" y="794"/>
                    </a:cubicBezTo>
                    <a:cubicBezTo>
                      <a:pt x="632" y="794"/>
                      <a:pt x="632" y="794"/>
                      <a:pt x="632" y="795"/>
                    </a:cubicBezTo>
                    <a:cubicBezTo>
                      <a:pt x="630" y="799"/>
                      <a:pt x="632" y="805"/>
                      <a:pt x="636" y="808"/>
                    </a:cubicBezTo>
                    <a:cubicBezTo>
                      <a:pt x="636" y="808"/>
                      <a:pt x="636" y="808"/>
                      <a:pt x="649" y="818"/>
                    </a:cubicBezTo>
                    <a:cubicBezTo>
                      <a:pt x="649" y="818"/>
                      <a:pt x="649" y="818"/>
                      <a:pt x="718" y="874"/>
                    </a:cubicBezTo>
                    <a:cubicBezTo>
                      <a:pt x="724" y="878"/>
                      <a:pt x="731" y="877"/>
                      <a:pt x="736" y="872"/>
                    </a:cubicBezTo>
                    <a:cubicBezTo>
                      <a:pt x="736" y="872"/>
                      <a:pt x="736" y="872"/>
                      <a:pt x="877" y="6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A19A959-0664-4338-BD97-6B741FC9C6F8}"/>
              </a:ext>
            </a:extLst>
          </p:cNvPr>
          <p:cNvGrpSpPr/>
          <p:nvPr/>
        </p:nvGrpSpPr>
        <p:grpSpPr>
          <a:xfrm>
            <a:off x="5112820" y="2793493"/>
            <a:ext cx="593658" cy="593658"/>
            <a:chOff x="-630175" y="2931367"/>
            <a:chExt cx="593658" cy="593658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5E499EDE-CF25-494D-88D7-5062D1FDDED8}"/>
                </a:ext>
              </a:extLst>
            </p:cNvPr>
            <p:cNvSpPr/>
            <p:nvPr/>
          </p:nvSpPr>
          <p:spPr>
            <a:xfrm>
              <a:off x="-630175" y="2931367"/>
              <a:ext cx="593658" cy="59365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066DAEC0-F16B-4330-AA1D-196A0893B54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-561153" y="2999596"/>
              <a:ext cx="455613" cy="457200"/>
              <a:chOff x="5120" y="1668"/>
              <a:chExt cx="287" cy="288"/>
            </a:xfrm>
          </p:grpSpPr>
          <p:sp>
            <p:nvSpPr>
              <p:cNvPr id="97" name="AutoShape 49">
                <a:extLst>
                  <a:ext uri="{FF2B5EF4-FFF2-40B4-BE49-F238E27FC236}">
                    <a16:creationId xmlns:a16="http://schemas.microsoft.com/office/drawing/2014/main" id="{34146A12-73D3-4DEC-AE05-247D0145D10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120" y="1668"/>
                <a:ext cx="287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51">
                <a:extLst>
                  <a:ext uri="{FF2B5EF4-FFF2-40B4-BE49-F238E27FC236}">
                    <a16:creationId xmlns:a16="http://schemas.microsoft.com/office/drawing/2014/main" id="{BCBF1B81-FCB7-402E-A95F-E2278F35B3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6" y="1720"/>
                <a:ext cx="255" cy="184"/>
              </a:xfrm>
              <a:custGeom>
                <a:avLst/>
                <a:gdLst>
                  <a:gd name="T0" fmla="*/ 816 w 903"/>
                  <a:gd name="T1" fmla="*/ 525 h 649"/>
                  <a:gd name="T2" fmla="*/ 839 w 903"/>
                  <a:gd name="T3" fmla="*/ 22 h 649"/>
                  <a:gd name="T4" fmla="*/ 86 w 903"/>
                  <a:gd name="T5" fmla="*/ 0 h 649"/>
                  <a:gd name="T6" fmla="*/ 64 w 903"/>
                  <a:gd name="T7" fmla="*/ 502 h 649"/>
                  <a:gd name="T8" fmla="*/ 116 w 903"/>
                  <a:gd name="T9" fmla="*/ 70 h 649"/>
                  <a:gd name="T10" fmla="*/ 776 w 903"/>
                  <a:gd name="T11" fmla="*/ 59 h 649"/>
                  <a:gd name="T12" fmla="*/ 787 w 903"/>
                  <a:gd name="T13" fmla="*/ 455 h 649"/>
                  <a:gd name="T14" fmla="*/ 127 w 903"/>
                  <a:gd name="T15" fmla="*/ 465 h 649"/>
                  <a:gd name="T16" fmla="*/ 116 w 903"/>
                  <a:gd name="T17" fmla="*/ 70 h 649"/>
                  <a:gd name="T18" fmla="*/ 879 w 903"/>
                  <a:gd name="T19" fmla="*/ 550 h 649"/>
                  <a:gd name="T20" fmla="*/ 549 w 903"/>
                  <a:gd name="T21" fmla="*/ 565 h 649"/>
                  <a:gd name="T22" fmla="*/ 332 w 903"/>
                  <a:gd name="T23" fmla="*/ 550 h 649"/>
                  <a:gd name="T24" fmla="*/ 6 w 903"/>
                  <a:gd name="T25" fmla="*/ 559 h 649"/>
                  <a:gd name="T26" fmla="*/ 18 w 903"/>
                  <a:gd name="T27" fmla="*/ 632 h 649"/>
                  <a:gd name="T28" fmla="*/ 863 w 903"/>
                  <a:gd name="T29" fmla="*/ 649 h 649"/>
                  <a:gd name="T30" fmla="*/ 901 w 903"/>
                  <a:gd name="T31" fmla="*/ 580 h 649"/>
                  <a:gd name="T32" fmla="*/ 538 w 903"/>
                  <a:gd name="T33" fmla="*/ 205 h 649"/>
                  <a:gd name="T34" fmla="*/ 499 w 903"/>
                  <a:gd name="T35" fmla="*/ 381 h 649"/>
                  <a:gd name="T36" fmla="*/ 511 w 903"/>
                  <a:gd name="T37" fmla="*/ 408 h 649"/>
                  <a:gd name="T38" fmla="*/ 638 w 903"/>
                  <a:gd name="T39" fmla="*/ 286 h 649"/>
                  <a:gd name="T40" fmla="*/ 644 w 903"/>
                  <a:gd name="T41" fmla="*/ 274 h 649"/>
                  <a:gd name="T42" fmla="*/ 638 w 903"/>
                  <a:gd name="T43" fmla="*/ 261 h 649"/>
                  <a:gd name="T44" fmla="*/ 549 w 903"/>
                  <a:gd name="T45" fmla="*/ 178 h 649"/>
                  <a:gd name="T46" fmla="*/ 538 w 903"/>
                  <a:gd name="T47" fmla="*/ 205 h 649"/>
                  <a:gd name="T48" fmla="*/ 264 w 903"/>
                  <a:gd name="T49" fmla="*/ 286 h 649"/>
                  <a:gd name="T50" fmla="*/ 343 w 903"/>
                  <a:gd name="T51" fmla="*/ 366 h 649"/>
                  <a:gd name="T52" fmla="*/ 365 w 903"/>
                  <a:gd name="T53" fmla="*/ 365 h 649"/>
                  <a:gd name="T54" fmla="*/ 365 w 903"/>
                  <a:gd name="T55" fmla="*/ 343 h 649"/>
                  <a:gd name="T56" fmla="*/ 403 w 903"/>
                  <a:gd name="T57" fmla="*/ 167 h 649"/>
                  <a:gd name="T58" fmla="*/ 403 w 903"/>
                  <a:gd name="T59" fmla="*/ 144 h 649"/>
                  <a:gd name="T60" fmla="*/ 264 w 903"/>
                  <a:gd name="T61" fmla="*/ 262 h 649"/>
                  <a:gd name="T62" fmla="*/ 263 w 903"/>
                  <a:gd name="T63" fmla="*/ 263 h 649"/>
                  <a:gd name="T64" fmla="*/ 263 w 903"/>
                  <a:gd name="T65" fmla="*/ 285 h 649"/>
                  <a:gd name="T66" fmla="*/ 375 w 903"/>
                  <a:gd name="T67" fmla="*/ 418 h 649"/>
                  <a:gd name="T68" fmla="*/ 382 w 903"/>
                  <a:gd name="T69" fmla="*/ 419 h 649"/>
                  <a:gd name="T70" fmla="*/ 543 w 903"/>
                  <a:gd name="T71" fmla="*/ 128 h 649"/>
                  <a:gd name="T72" fmla="*/ 536 w 903"/>
                  <a:gd name="T73" fmla="*/ 107 h 649"/>
                  <a:gd name="T74" fmla="*/ 368 w 903"/>
                  <a:gd name="T75" fmla="*/ 397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03" h="649">
                    <a:moveTo>
                      <a:pt x="86" y="525"/>
                    </a:moveTo>
                    <a:cubicBezTo>
                      <a:pt x="816" y="525"/>
                      <a:pt x="816" y="525"/>
                      <a:pt x="816" y="525"/>
                    </a:cubicBezTo>
                    <a:cubicBezTo>
                      <a:pt x="829" y="525"/>
                      <a:pt x="839" y="515"/>
                      <a:pt x="839" y="502"/>
                    </a:cubicBezTo>
                    <a:cubicBezTo>
                      <a:pt x="839" y="22"/>
                      <a:pt x="839" y="22"/>
                      <a:pt x="839" y="22"/>
                    </a:cubicBezTo>
                    <a:cubicBezTo>
                      <a:pt x="839" y="10"/>
                      <a:pt x="829" y="0"/>
                      <a:pt x="81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74" y="0"/>
                      <a:pt x="64" y="10"/>
                      <a:pt x="64" y="22"/>
                    </a:cubicBezTo>
                    <a:cubicBezTo>
                      <a:pt x="64" y="502"/>
                      <a:pt x="64" y="502"/>
                      <a:pt x="64" y="502"/>
                    </a:cubicBezTo>
                    <a:cubicBezTo>
                      <a:pt x="64" y="515"/>
                      <a:pt x="74" y="525"/>
                      <a:pt x="86" y="525"/>
                    </a:cubicBezTo>
                    <a:close/>
                    <a:moveTo>
                      <a:pt x="116" y="70"/>
                    </a:moveTo>
                    <a:cubicBezTo>
                      <a:pt x="116" y="64"/>
                      <a:pt x="120" y="59"/>
                      <a:pt x="127" y="59"/>
                    </a:cubicBezTo>
                    <a:cubicBezTo>
                      <a:pt x="776" y="59"/>
                      <a:pt x="776" y="59"/>
                      <a:pt x="776" y="59"/>
                    </a:cubicBezTo>
                    <a:cubicBezTo>
                      <a:pt x="782" y="59"/>
                      <a:pt x="787" y="64"/>
                      <a:pt x="787" y="70"/>
                    </a:cubicBezTo>
                    <a:cubicBezTo>
                      <a:pt x="787" y="455"/>
                      <a:pt x="787" y="455"/>
                      <a:pt x="787" y="455"/>
                    </a:cubicBezTo>
                    <a:cubicBezTo>
                      <a:pt x="787" y="461"/>
                      <a:pt x="782" y="465"/>
                      <a:pt x="776" y="465"/>
                    </a:cubicBezTo>
                    <a:cubicBezTo>
                      <a:pt x="127" y="465"/>
                      <a:pt x="127" y="465"/>
                      <a:pt x="127" y="465"/>
                    </a:cubicBezTo>
                    <a:cubicBezTo>
                      <a:pt x="120" y="465"/>
                      <a:pt x="116" y="461"/>
                      <a:pt x="116" y="455"/>
                    </a:cubicBezTo>
                    <a:cubicBezTo>
                      <a:pt x="116" y="70"/>
                      <a:pt x="116" y="70"/>
                      <a:pt x="116" y="70"/>
                    </a:cubicBezTo>
                    <a:close/>
                    <a:moveTo>
                      <a:pt x="897" y="559"/>
                    </a:moveTo>
                    <a:cubicBezTo>
                      <a:pt x="893" y="554"/>
                      <a:pt x="887" y="550"/>
                      <a:pt x="879" y="550"/>
                    </a:cubicBezTo>
                    <a:cubicBezTo>
                      <a:pt x="879" y="550"/>
                      <a:pt x="879" y="550"/>
                      <a:pt x="571" y="550"/>
                    </a:cubicBezTo>
                    <a:cubicBezTo>
                      <a:pt x="562" y="550"/>
                      <a:pt x="552" y="557"/>
                      <a:pt x="549" y="565"/>
                    </a:cubicBezTo>
                    <a:cubicBezTo>
                      <a:pt x="549" y="565"/>
                      <a:pt x="549" y="565"/>
                      <a:pt x="353" y="565"/>
                    </a:cubicBezTo>
                    <a:cubicBezTo>
                      <a:pt x="350" y="557"/>
                      <a:pt x="341" y="550"/>
                      <a:pt x="332" y="550"/>
                    </a:cubicBezTo>
                    <a:cubicBezTo>
                      <a:pt x="332" y="550"/>
                      <a:pt x="332" y="550"/>
                      <a:pt x="23" y="550"/>
                    </a:cubicBezTo>
                    <a:cubicBezTo>
                      <a:pt x="16" y="550"/>
                      <a:pt x="10" y="554"/>
                      <a:pt x="6" y="559"/>
                    </a:cubicBezTo>
                    <a:cubicBezTo>
                      <a:pt x="1" y="565"/>
                      <a:pt x="0" y="573"/>
                      <a:pt x="2" y="580"/>
                    </a:cubicBezTo>
                    <a:cubicBezTo>
                      <a:pt x="2" y="580"/>
                      <a:pt x="2" y="580"/>
                      <a:pt x="18" y="632"/>
                    </a:cubicBezTo>
                    <a:cubicBezTo>
                      <a:pt x="21" y="642"/>
                      <a:pt x="31" y="649"/>
                      <a:pt x="40" y="649"/>
                    </a:cubicBezTo>
                    <a:cubicBezTo>
                      <a:pt x="40" y="649"/>
                      <a:pt x="40" y="649"/>
                      <a:pt x="863" y="649"/>
                    </a:cubicBezTo>
                    <a:cubicBezTo>
                      <a:pt x="872" y="649"/>
                      <a:pt x="881" y="642"/>
                      <a:pt x="884" y="632"/>
                    </a:cubicBezTo>
                    <a:cubicBezTo>
                      <a:pt x="884" y="632"/>
                      <a:pt x="884" y="632"/>
                      <a:pt x="901" y="580"/>
                    </a:cubicBezTo>
                    <a:cubicBezTo>
                      <a:pt x="903" y="573"/>
                      <a:pt x="902" y="565"/>
                      <a:pt x="897" y="559"/>
                    </a:cubicBezTo>
                    <a:close/>
                    <a:moveTo>
                      <a:pt x="538" y="205"/>
                    </a:moveTo>
                    <a:cubicBezTo>
                      <a:pt x="606" y="274"/>
                      <a:pt x="606" y="274"/>
                      <a:pt x="606" y="274"/>
                    </a:cubicBezTo>
                    <a:cubicBezTo>
                      <a:pt x="499" y="381"/>
                      <a:pt x="499" y="381"/>
                      <a:pt x="499" y="381"/>
                    </a:cubicBezTo>
                    <a:cubicBezTo>
                      <a:pt x="493" y="387"/>
                      <a:pt x="494" y="397"/>
                      <a:pt x="499" y="403"/>
                    </a:cubicBezTo>
                    <a:cubicBezTo>
                      <a:pt x="502" y="406"/>
                      <a:pt x="507" y="408"/>
                      <a:pt x="511" y="408"/>
                    </a:cubicBezTo>
                    <a:cubicBezTo>
                      <a:pt x="514" y="408"/>
                      <a:pt x="518" y="406"/>
                      <a:pt x="521" y="403"/>
                    </a:cubicBezTo>
                    <a:cubicBezTo>
                      <a:pt x="638" y="286"/>
                      <a:pt x="638" y="286"/>
                      <a:pt x="638" y="286"/>
                    </a:cubicBezTo>
                    <a:cubicBezTo>
                      <a:pt x="638" y="286"/>
                      <a:pt x="639" y="285"/>
                      <a:pt x="639" y="285"/>
                    </a:cubicBezTo>
                    <a:cubicBezTo>
                      <a:pt x="643" y="282"/>
                      <a:pt x="644" y="278"/>
                      <a:pt x="644" y="274"/>
                    </a:cubicBezTo>
                    <a:cubicBezTo>
                      <a:pt x="644" y="269"/>
                      <a:pt x="643" y="266"/>
                      <a:pt x="640" y="263"/>
                    </a:cubicBezTo>
                    <a:cubicBezTo>
                      <a:pt x="639" y="262"/>
                      <a:pt x="639" y="262"/>
                      <a:pt x="638" y="261"/>
                    </a:cubicBezTo>
                    <a:cubicBezTo>
                      <a:pt x="560" y="183"/>
                      <a:pt x="560" y="183"/>
                      <a:pt x="560" y="183"/>
                    </a:cubicBezTo>
                    <a:cubicBezTo>
                      <a:pt x="557" y="180"/>
                      <a:pt x="553" y="178"/>
                      <a:pt x="549" y="178"/>
                    </a:cubicBezTo>
                    <a:cubicBezTo>
                      <a:pt x="545" y="178"/>
                      <a:pt x="541" y="180"/>
                      <a:pt x="538" y="183"/>
                    </a:cubicBezTo>
                    <a:cubicBezTo>
                      <a:pt x="532" y="189"/>
                      <a:pt x="532" y="198"/>
                      <a:pt x="538" y="205"/>
                    </a:cubicBezTo>
                    <a:close/>
                    <a:moveTo>
                      <a:pt x="263" y="285"/>
                    </a:moveTo>
                    <a:cubicBezTo>
                      <a:pt x="264" y="286"/>
                      <a:pt x="264" y="286"/>
                      <a:pt x="264" y="286"/>
                    </a:cubicBezTo>
                    <a:cubicBezTo>
                      <a:pt x="343" y="365"/>
                      <a:pt x="343" y="365"/>
                      <a:pt x="343" y="365"/>
                    </a:cubicBezTo>
                    <a:cubicBezTo>
                      <a:pt x="343" y="365"/>
                      <a:pt x="343" y="365"/>
                      <a:pt x="343" y="366"/>
                    </a:cubicBezTo>
                    <a:cubicBezTo>
                      <a:pt x="346" y="368"/>
                      <a:pt x="350" y="369"/>
                      <a:pt x="354" y="369"/>
                    </a:cubicBezTo>
                    <a:cubicBezTo>
                      <a:pt x="358" y="369"/>
                      <a:pt x="362" y="368"/>
                      <a:pt x="365" y="365"/>
                    </a:cubicBezTo>
                    <a:cubicBezTo>
                      <a:pt x="368" y="362"/>
                      <a:pt x="370" y="358"/>
                      <a:pt x="369" y="353"/>
                    </a:cubicBezTo>
                    <a:cubicBezTo>
                      <a:pt x="369" y="349"/>
                      <a:pt x="368" y="345"/>
                      <a:pt x="365" y="343"/>
                    </a:cubicBezTo>
                    <a:cubicBezTo>
                      <a:pt x="296" y="274"/>
                      <a:pt x="296" y="274"/>
                      <a:pt x="296" y="274"/>
                    </a:cubicBezTo>
                    <a:cubicBezTo>
                      <a:pt x="403" y="167"/>
                      <a:pt x="403" y="167"/>
                      <a:pt x="403" y="167"/>
                    </a:cubicBezTo>
                    <a:cubicBezTo>
                      <a:pt x="406" y="164"/>
                      <a:pt x="408" y="160"/>
                      <a:pt x="408" y="156"/>
                    </a:cubicBezTo>
                    <a:cubicBezTo>
                      <a:pt x="408" y="152"/>
                      <a:pt x="406" y="147"/>
                      <a:pt x="403" y="144"/>
                    </a:cubicBezTo>
                    <a:cubicBezTo>
                      <a:pt x="397" y="139"/>
                      <a:pt x="387" y="138"/>
                      <a:pt x="381" y="144"/>
                    </a:cubicBezTo>
                    <a:cubicBezTo>
                      <a:pt x="264" y="262"/>
                      <a:pt x="264" y="262"/>
                      <a:pt x="264" y="262"/>
                    </a:cubicBezTo>
                    <a:cubicBezTo>
                      <a:pt x="264" y="262"/>
                      <a:pt x="264" y="262"/>
                      <a:pt x="263" y="262"/>
                    </a:cubicBezTo>
                    <a:cubicBezTo>
                      <a:pt x="263" y="263"/>
                      <a:pt x="263" y="263"/>
                      <a:pt x="263" y="263"/>
                    </a:cubicBezTo>
                    <a:cubicBezTo>
                      <a:pt x="260" y="266"/>
                      <a:pt x="259" y="270"/>
                      <a:pt x="259" y="274"/>
                    </a:cubicBezTo>
                    <a:cubicBezTo>
                      <a:pt x="259" y="278"/>
                      <a:pt x="260" y="282"/>
                      <a:pt x="263" y="285"/>
                    </a:cubicBezTo>
                    <a:cubicBezTo>
                      <a:pt x="263" y="285"/>
                      <a:pt x="263" y="285"/>
                      <a:pt x="263" y="285"/>
                    </a:cubicBezTo>
                    <a:close/>
                    <a:moveTo>
                      <a:pt x="375" y="418"/>
                    </a:moveTo>
                    <a:cubicBezTo>
                      <a:pt x="375" y="418"/>
                      <a:pt x="375" y="418"/>
                      <a:pt x="376" y="418"/>
                    </a:cubicBezTo>
                    <a:cubicBezTo>
                      <a:pt x="377" y="419"/>
                      <a:pt x="379" y="419"/>
                      <a:pt x="382" y="419"/>
                    </a:cubicBezTo>
                    <a:cubicBezTo>
                      <a:pt x="388" y="419"/>
                      <a:pt x="393" y="416"/>
                      <a:pt x="396" y="411"/>
                    </a:cubicBezTo>
                    <a:cubicBezTo>
                      <a:pt x="543" y="128"/>
                      <a:pt x="543" y="128"/>
                      <a:pt x="543" y="128"/>
                    </a:cubicBezTo>
                    <a:cubicBezTo>
                      <a:pt x="547" y="121"/>
                      <a:pt x="545" y="111"/>
                      <a:pt x="537" y="107"/>
                    </a:cubicBezTo>
                    <a:cubicBezTo>
                      <a:pt x="537" y="107"/>
                      <a:pt x="536" y="107"/>
                      <a:pt x="536" y="107"/>
                    </a:cubicBezTo>
                    <a:cubicBezTo>
                      <a:pt x="529" y="103"/>
                      <a:pt x="520" y="106"/>
                      <a:pt x="515" y="114"/>
                    </a:cubicBezTo>
                    <a:cubicBezTo>
                      <a:pt x="368" y="397"/>
                      <a:pt x="368" y="397"/>
                      <a:pt x="368" y="397"/>
                    </a:cubicBezTo>
                    <a:cubicBezTo>
                      <a:pt x="364" y="405"/>
                      <a:pt x="367" y="414"/>
                      <a:pt x="375" y="41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220" name="Group 9219">
            <a:extLst>
              <a:ext uri="{FF2B5EF4-FFF2-40B4-BE49-F238E27FC236}">
                <a16:creationId xmlns:a16="http://schemas.microsoft.com/office/drawing/2014/main" id="{E4A068CF-E4B3-4EC7-ABDF-5F9B48AE44CE}"/>
              </a:ext>
            </a:extLst>
          </p:cNvPr>
          <p:cNvGrpSpPr/>
          <p:nvPr/>
        </p:nvGrpSpPr>
        <p:grpSpPr>
          <a:xfrm>
            <a:off x="3420406" y="1127230"/>
            <a:ext cx="593658" cy="593658"/>
            <a:chOff x="7983585" y="2649813"/>
            <a:chExt cx="593658" cy="593658"/>
          </a:xfrm>
        </p:grpSpPr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98C46246-3A39-4DD8-9300-C624C739E87B}"/>
                </a:ext>
              </a:extLst>
            </p:cNvPr>
            <p:cNvSpPr/>
            <p:nvPr/>
          </p:nvSpPr>
          <p:spPr>
            <a:xfrm>
              <a:off x="7983585" y="2649813"/>
              <a:ext cx="593658" cy="5936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99" name="Group 8">
              <a:extLst>
                <a:ext uri="{FF2B5EF4-FFF2-40B4-BE49-F238E27FC236}">
                  <a16:creationId xmlns:a16="http://schemas.microsoft.com/office/drawing/2014/main" id="{2168E01B-6F80-41F2-8307-C682F04461E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051814" y="2718042"/>
              <a:ext cx="457200" cy="457200"/>
              <a:chOff x="2071" y="1073"/>
              <a:chExt cx="288" cy="288"/>
            </a:xfrm>
          </p:grpSpPr>
          <p:sp>
            <p:nvSpPr>
              <p:cNvPr id="100" name="AutoShape 7">
                <a:extLst>
                  <a:ext uri="{FF2B5EF4-FFF2-40B4-BE49-F238E27FC236}">
                    <a16:creationId xmlns:a16="http://schemas.microsoft.com/office/drawing/2014/main" id="{8D914AAD-6C0A-44AF-A6CF-F943487F2E4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071" y="1073"/>
                <a:ext cx="288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9">
                <a:extLst>
                  <a:ext uri="{FF2B5EF4-FFF2-40B4-BE49-F238E27FC236}">
                    <a16:creationId xmlns:a16="http://schemas.microsoft.com/office/drawing/2014/main" id="{AE9FA639-E816-46AF-BE33-74A023C277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23" y="1090"/>
                <a:ext cx="184" cy="254"/>
              </a:xfrm>
              <a:custGeom>
                <a:avLst/>
                <a:gdLst>
                  <a:gd name="T0" fmla="*/ 50 w 638"/>
                  <a:gd name="T1" fmla="*/ 693 h 880"/>
                  <a:gd name="T2" fmla="*/ 90 w 638"/>
                  <a:gd name="T3" fmla="*/ 603 h 880"/>
                  <a:gd name="T4" fmla="*/ 257 w 638"/>
                  <a:gd name="T5" fmla="*/ 436 h 880"/>
                  <a:gd name="T6" fmla="*/ 216 w 638"/>
                  <a:gd name="T7" fmla="*/ 525 h 880"/>
                  <a:gd name="T8" fmla="*/ 70 w 638"/>
                  <a:gd name="T9" fmla="*/ 749 h 880"/>
                  <a:gd name="T10" fmla="*/ 70 w 638"/>
                  <a:gd name="T11" fmla="*/ 880 h 880"/>
                  <a:gd name="T12" fmla="*/ 70 w 638"/>
                  <a:gd name="T13" fmla="*/ 749 h 880"/>
                  <a:gd name="T14" fmla="*/ 73 w 638"/>
                  <a:gd name="T15" fmla="*/ 546 h 880"/>
                  <a:gd name="T16" fmla="*/ 73 w 638"/>
                  <a:gd name="T17" fmla="*/ 505 h 880"/>
                  <a:gd name="T18" fmla="*/ 97 w 638"/>
                  <a:gd name="T19" fmla="*/ 480 h 880"/>
                  <a:gd name="T20" fmla="*/ 336 w 638"/>
                  <a:gd name="T21" fmla="*/ 481 h 880"/>
                  <a:gd name="T22" fmla="*/ 401 w 638"/>
                  <a:gd name="T23" fmla="*/ 416 h 880"/>
                  <a:gd name="T24" fmla="*/ 400 w 638"/>
                  <a:gd name="T25" fmla="*/ 456 h 880"/>
                  <a:gd name="T26" fmla="*/ 565 w 638"/>
                  <a:gd name="T27" fmla="*/ 749 h 880"/>
                  <a:gd name="T28" fmla="*/ 631 w 638"/>
                  <a:gd name="T29" fmla="*/ 815 h 880"/>
                  <a:gd name="T30" fmla="*/ 541 w 638"/>
                  <a:gd name="T31" fmla="*/ 815 h 880"/>
                  <a:gd name="T32" fmla="*/ 566 w 638"/>
                  <a:gd name="T33" fmla="*/ 840 h 880"/>
                  <a:gd name="T34" fmla="*/ 566 w 638"/>
                  <a:gd name="T35" fmla="*/ 416 h 880"/>
                  <a:gd name="T36" fmla="*/ 566 w 638"/>
                  <a:gd name="T37" fmla="*/ 546 h 880"/>
                  <a:gd name="T38" fmla="*/ 500 w 638"/>
                  <a:gd name="T39" fmla="*/ 648 h 880"/>
                  <a:gd name="T40" fmla="*/ 565 w 638"/>
                  <a:gd name="T41" fmla="*/ 583 h 880"/>
                  <a:gd name="T42" fmla="*/ 566 w 638"/>
                  <a:gd name="T43" fmla="*/ 624 h 880"/>
                  <a:gd name="T44" fmla="*/ 499 w 638"/>
                  <a:gd name="T45" fmla="*/ 49 h 880"/>
                  <a:gd name="T46" fmla="*/ 499 w 638"/>
                  <a:gd name="T47" fmla="*/ 49 h 880"/>
                  <a:gd name="T48" fmla="*/ 417 w 638"/>
                  <a:gd name="T49" fmla="*/ 660 h 880"/>
                  <a:gd name="T50" fmla="*/ 350 w 638"/>
                  <a:gd name="T51" fmla="*/ 612 h 880"/>
                  <a:gd name="T52" fmla="*/ 255 w 638"/>
                  <a:gd name="T53" fmla="*/ 599 h 880"/>
                  <a:gd name="T54" fmla="*/ 199 w 638"/>
                  <a:gd name="T55" fmla="*/ 678 h 880"/>
                  <a:gd name="T56" fmla="*/ 188 w 638"/>
                  <a:gd name="T57" fmla="*/ 759 h 880"/>
                  <a:gd name="T58" fmla="*/ 203 w 638"/>
                  <a:gd name="T59" fmla="*/ 830 h 880"/>
                  <a:gd name="T60" fmla="*/ 324 w 638"/>
                  <a:gd name="T61" fmla="*/ 862 h 880"/>
                  <a:gd name="T62" fmla="*/ 397 w 638"/>
                  <a:gd name="T63" fmla="*/ 854 h 880"/>
                  <a:gd name="T64" fmla="*/ 451 w 638"/>
                  <a:gd name="T65" fmla="*/ 780 h 880"/>
                  <a:gd name="T66" fmla="*/ 338 w 638"/>
                  <a:gd name="T67" fmla="*/ 793 h 880"/>
                  <a:gd name="T68" fmla="*/ 312 w 638"/>
                  <a:gd name="T69" fmla="*/ 669 h 880"/>
                  <a:gd name="T70" fmla="*/ 499 w 638"/>
                  <a:gd name="T71" fmla="*/ 180 h 880"/>
                  <a:gd name="T72" fmla="*/ 455 w 638"/>
                  <a:gd name="T73" fmla="*/ 0 h 880"/>
                  <a:gd name="T74" fmla="*/ 0 w 638"/>
                  <a:gd name="T75" fmla="*/ 400 h 880"/>
                  <a:gd name="T76" fmla="*/ 178 w 638"/>
                  <a:gd name="T77" fmla="*/ 409 h 880"/>
                  <a:gd name="T78" fmla="*/ 319 w 638"/>
                  <a:gd name="T79" fmla="*/ 409 h 880"/>
                  <a:gd name="T80" fmla="*/ 506 w 638"/>
                  <a:gd name="T81" fmla="*/ 409 h 880"/>
                  <a:gd name="T82" fmla="*/ 627 w 638"/>
                  <a:gd name="T83" fmla="*/ 416 h 880"/>
                  <a:gd name="T84" fmla="*/ 638 w 638"/>
                  <a:gd name="T85" fmla="*/ 455 h 880"/>
                  <a:gd name="T86" fmla="*/ 529 w 638"/>
                  <a:gd name="T87" fmla="*/ 352 h 880"/>
                  <a:gd name="T88" fmla="*/ 126 w 638"/>
                  <a:gd name="T89" fmla="*/ 308 h 880"/>
                  <a:gd name="T90" fmla="*/ 529 w 638"/>
                  <a:gd name="T91" fmla="*/ 352 h 880"/>
                  <a:gd name="T92" fmla="*/ 104 w 638"/>
                  <a:gd name="T93" fmla="*/ 229 h 880"/>
                  <a:gd name="T94" fmla="*/ 551 w 638"/>
                  <a:gd name="T95" fmla="*/ 229 h 8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38" h="880">
                    <a:moveTo>
                      <a:pt x="70" y="583"/>
                    </a:moveTo>
                    <a:cubicBezTo>
                      <a:pt x="59" y="583"/>
                      <a:pt x="50" y="592"/>
                      <a:pt x="50" y="603"/>
                    </a:cubicBezTo>
                    <a:cubicBezTo>
                      <a:pt x="50" y="693"/>
                      <a:pt x="50" y="693"/>
                      <a:pt x="50" y="693"/>
                    </a:cubicBezTo>
                    <a:cubicBezTo>
                      <a:pt x="50" y="704"/>
                      <a:pt x="59" y="713"/>
                      <a:pt x="70" y="713"/>
                    </a:cubicBezTo>
                    <a:cubicBezTo>
                      <a:pt x="81" y="713"/>
                      <a:pt x="90" y="704"/>
                      <a:pt x="90" y="693"/>
                    </a:cubicBezTo>
                    <a:cubicBezTo>
                      <a:pt x="90" y="603"/>
                      <a:pt x="90" y="603"/>
                      <a:pt x="90" y="603"/>
                    </a:cubicBezTo>
                    <a:cubicBezTo>
                      <a:pt x="90" y="592"/>
                      <a:pt x="81" y="583"/>
                      <a:pt x="70" y="583"/>
                    </a:cubicBezTo>
                    <a:close/>
                    <a:moveTo>
                      <a:pt x="257" y="525"/>
                    </a:moveTo>
                    <a:cubicBezTo>
                      <a:pt x="257" y="436"/>
                      <a:pt x="257" y="436"/>
                      <a:pt x="257" y="436"/>
                    </a:cubicBezTo>
                    <a:cubicBezTo>
                      <a:pt x="257" y="424"/>
                      <a:pt x="249" y="416"/>
                      <a:pt x="237" y="416"/>
                    </a:cubicBezTo>
                    <a:cubicBezTo>
                      <a:pt x="225" y="416"/>
                      <a:pt x="216" y="424"/>
                      <a:pt x="216" y="436"/>
                    </a:cubicBezTo>
                    <a:cubicBezTo>
                      <a:pt x="216" y="525"/>
                      <a:pt x="216" y="525"/>
                      <a:pt x="216" y="525"/>
                    </a:cubicBezTo>
                    <a:cubicBezTo>
                      <a:pt x="216" y="536"/>
                      <a:pt x="226" y="546"/>
                      <a:pt x="237" y="546"/>
                    </a:cubicBezTo>
                    <a:cubicBezTo>
                      <a:pt x="248" y="546"/>
                      <a:pt x="257" y="536"/>
                      <a:pt x="257" y="525"/>
                    </a:cubicBezTo>
                    <a:close/>
                    <a:moveTo>
                      <a:pt x="70" y="749"/>
                    </a:moveTo>
                    <a:cubicBezTo>
                      <a:pt x="59" y="749"/>
                      <a:pt x="50" y="759"/>
                      <a:pt x="50" y="770"/>
                    </a:cubicBezTo>
                    <a:cubicBezTo>
                      <a:pt x="50" y="860"/>
                      <a:pt x="50" y="860"/>
                      <a:pt x="50" y="860"/>
                    </a:cubicBezTo>
                    <a:cubicBezTo>
                      <a:pt x="50" y="871"/>
                      <a:pt x="59" y="880"/>
                      <a:pt x="70" y="880"/>
                    </a:cubicBezTo>
                    <a:cubicBezTo>
                      <a:pt x="81" y="880"/>
                      <a:pt x="90" y="871"/>
                      <a:pt x="90" y="860"/>
                    </a:cubicBezTo>
                    <a:cubicBezTo>
                      <a:pt x="90" y="770"/>
                      <a:pt x="90" y="770"/>
                      <a:pt x="90" y="770"/>
                    </a:cubicBezTo>
                    <a:cubicBezTo>
                      <a:pt x="90" y="758"/>
                      <a:pt x="81" y="749"/>
                      <a:pt x="70" y="749"/>
                    </a:cubicBezTo>
                    <a:close/>
                    <a:moveTo>
                      <a:pt x="73" y="416"/>
                    </a:moveTo>
                    <a:cubicBezTo>
                      <a:pt x="37" y="416"/>
                      <a:pt x="8" y="445"/>
                      <a:pt x="8" y="481"/>
                    </a:cubicBezTo>
                    <a:cubicBezTo>
                      <a:pt x="8" y="516"/>
                      <a:pt x="37" y="546"/>
                      <a:pt x="73" y="546"/>
                    </a:cubicBezTo>
                    <a:cubicBezTo>
                      <a:pt x="109" y="546"/>
                      <a:pt x="138" y="516"/>
                      <a:pt x="138" y="481"/>
                    </a:cubicBezTo>
                    <a:cubicBezTo>
                      <a:pt x="138" y="445"/>
                      <a:pt x="109" y="416"/>
                      <a:pt x="73" y="416"/>
                    </a:cubicBezTo>
                    <a:close/>
                    <a:moveTo>
                      <a:pt x="73" y="505"/>
                    </a:moveTo>
                    <a:cubicBezTo>
                      <a:pt x="59" y="505"/>
                      <a:pt x="48" y="495"/>
                      <a:pt x="48" y="480"/>
                    </a:cubicBezTo>
                    <a:cubicBezTo>
                      <a:pt x="48" y="467"/>
                      <a:pt x="59" y="456"/>
                      <a:pt x="73" y="456"/>
                    </a:cubicBezTo>
                    <a:cubicBezTo>
                      <a:pt x="86" y="456"/>
                      <a:pt x="97" y="467"/>
                      <a:pt x="97" y="480"/>
                    </a:cubicBezTo>
                    <a:cubicBezTo>
                      <a:pt x="97" y="494"/>
                      <a:pt x="86" y="505"/>
                      <a:pt x="73" y="505"/>
                    </a:cubicBezTo>
                    <a:close/>
                    <a:moveTo>
                      <a:pt x="401" y="416"/>
                    </a:moveTo>
                    <a:cubicBezTo>
                      <a:pt x="365" y="416"/>
                      <a:pt x="336" y="445"/>
                      <a:pt x="336" y="481"/>
                    </a:cubicBezTo>
                    <a:cubicBezTo>
                      <a:pt x="336" y="516"/>
                      <a:pt x="365" y="546"/>
                      <a:pt x="401" y="546"/>
                    </a:cubicBezTo>
                    <a:cubicBezTo>
                      <a:pt x="437" y="546"/>
                      <a:pt x="466" y="516"/>
                      <a:pt x="466" y="481"/>
                    </a:cubicBezTo>
                    <a:cubicBezTo>
                      <a:pt x="466" y="445"/>
                      <a:pt x="437" y="416"/>
                      <a:pt x="401" y="416"/>
                    </a:cubicBezTo>
                    <a:close/>
                    <a:moveTo>
                      <a:pt x="400" y="505"/>
                    </a:moveTo>
                    <a:cubicBezTo>
                      <a:pt x="387" y="505"/>
                      <a:pt x="377" y="494"/>
                      <a:pt x="377" y="480"/>
                    </a:cubicBezTo>
                    <a:cubicBezTo>
                      <a:pt x="377" y="467"/>
                      <a:pt x="388" y="456"/>
                      <a:pt x="400" y="456"/>
                    </a:cubicBezTo>
                    <a:cubicBezTo>
                      <a:pt x="414" y="456"/>
                      <a:pt x="425" y="467"/>
                      <a:pt x="425" y="480"/>
                    </a:cubicBezTo>
                    <a:cubicBezTo>
                      <a:pt x="425" y="495"/>
                      <a:pt x="414" y="505"/>
                      <a:pt x="400" y="505"/>
                    </a:cubicBezTo>
                    <a:close/>
                    <a:moveTo>
                      <a:pt x="565" y="749"/>
                    </a:moveTo>
                    <a:cubicBezTo>
                      <a:pt x="529" y="749"/>
                      <a:pt x="500" y="779"/>
                      <a:pt x="500" y="815"/>
                    </a:cubicBezTo>
                    <a:cubicBezTo>
                      <a:pt x="500" y="851"/>
                      <a:pt x="529" y="880"/>
                      <a:pt x="565" y="880"/>
                    </a:cubicBezTo>
                    <a:cubicBezTo>
                      <a:pt x="601" y="880"/>
                      <a:pt x="631" y="851"/>
                      <a:pt x="631" y="815"/>
                    </a:cubicBezTo>
                    <a:cubicBezTo>
                      <a:pt x="631" y="779"/>
                      <a:pt x="601" y="749"/>
                      <a:pt x="565" y="749"/>
                    </a:cubicBezTo>
                    <a:close/>
                    <a:moveTo>
                      <a:pt x="566" y="840"/>
                    </a:moveTo>
                    <a:cubicBezTo>
                      <a:pt x="552" y="840"/>
                      <a:pt x="541" y="829"/>
                      <a:pt x="541" y="815"/>
                    </a:cubicBezTo>
                    <a:cubicBezTo>
                      <a:pt x="541" y="801"/>
                      <a:pt x="552" y="789"/>
                      <a:pt x="566" y="789"/>
                    </a:cubicBezTo>
                    <a:cubicBezTo>
                      <a:pt x="580" y="789"/>
                      <a:pt x="591" y="801"/>
                      <a:pt x="591" y="815"/>
                    </a:cubicBezTo>
                    <a:cubicBezTo>
                      <a:pt x="591" y="829"/>
                      <a:pt x="580" y="840"/>
                      <a:pt x="566" y="840"/>
                    </a:cubicBezTo>
                    <a:close/>
                    <a:moveTo>
                      <a:pt x="586" y="525"/>
                    </a:moveTo>
                    <a:cubicBezTo>
                      <a:pt x="586" y="436"/>
                      <a:pt x="586" y="436"/>
                      <a:pt x="586" y="436"/>
                    </a:cubicBezTo>
                    <a:cubicBezTo>
                      <a:pt x="586" y="424"/>
                      <a:pt x="577" y="416"/>
                      <a:pt x="566" y="416"/>
                    </a:cubicBezTo>
                    <a:cubicBezTo>
                      <a:pt x="554" y="416"/>
                      <a:pt x="544" y="425"/>
                      <a:pt x="544" y="436"/>
                    </a:cubicBezTo>
                    <a:cubicBezTo>
                      <a:pt x="544" y="525"/>
                      <a:pt x="544" y="525"/>
                      <a:pt x="544" y="525"/>
                    </a:cubicBezTo>
                    <a:cubicBezTo>
                      <a:pt x="544" y="536"/>
                      <a:pt x="554" y="546"/>
                      <a:pt x="566" y="546"/>
                    </a:cubicBezTo>
                    <a:cubicBezTo>
                      <a:pt x="577" y="546"/>
                      <a:pt x="586" y="536"/>
                      <a:pt x="586" y="525"/>
                    </a:cubicBezTo>
                    <a:close/>
                    <a:moveTo>
                      <a:pt x="565" y="583"/>
                    </a:moveTo>
                    <a:cubicBezTo>
                      <a:pt x="529" y="583"/>
                      <a:pt x="500" y="612"/>
                      <a:pt x="500" y="648"/>
                    </a:cubicBezTo>
                    <a:cubicBezTo>
                      <a:pt x="500" y="684"/>
                      <a:pt x="529" y="713"/>
                      <a:pt x="565" y="713"/>
                    </a:cubicBezTo>
                    <a:cubicBezTo>
                      <a:pt x="601" y="713"/>
                      <a:pt x="631" y="684"/>
                      <a:pt x="631" y="648"/>
                    </a:cubicBezTo>
                    <a:cubicBezTo>
                      <a:pt x="631" y="612"/>
                      <a:pt x="601" y="583"/>
                      <a:pt x="565" y="583"/>
                    </a:cubicBezTo>
                    <a:close/>
                    <a:moveTo>
                      <a:pt x="566" y="672"/>
                    </a:moveTo>
                    <a:cubicBezTo>
                      <a:pt x="552" y="672"/>
                      <a:pt x="541" y="661"/>
                      <a:pt x="541" y="648"/>
                    </a:cubicBezTo>
                    <a:cubicBezTo>
                      <a:pt x="541" y="635"/>
                      <a:pt x="552" y="624"/>
                      <a:pt x="566" y="624"/>
                    </a:cubicBezTo>
                    <a:cubicBezTo>
                      <a:pt x="580" y="624"/>
                      <a:pt x="591" y="635"/>
                      <a:pt x="591" y="648"/>
                    </a:cubicBezTo>
                    <a:cubicBezTo>
                      <a:pt x="591" y="661"/>
                      <a:pt x="580" y="672"/>
                      <a:pt x="566" y="672"/>
                    </a:cubicBezTo>
                    <a:close/>
                    <a:moveTo>
                      <a:pt x="499" y="49"/>
                    </a:moveTo>
                    <a:cubicBezTo>
                      <a:pt x="499" y="49"/>
                      <a:pt x="499" y="49"/>
                      <a:pt x="499" y="135"/>
                    </a:cubicBezTo>
                    <a:cubicBezTo>
                      <a:pt x="499" y="135"/>
                      <a:pt x="499" y="135"/>
                      <a:pt x="585" y="135"/>
                    </a:cubicBezTo>
                    <a:lnTo>
                      <a:pt x="499" y="49"/>
                    </a:lnTo>
                    <a:close/>
                    <a:moveTo>
                      <a:pt x="437" y="707"/>
                    </a:moveTo>
                    <a:cubicBezTo>
                      <a:pt x="435" y="699"/>
                      <a:pt x="433" y="691"/>
                      <a:pt x="429" y="683"/>
                    </a:cubicBezTo>
                    <a:cubicBezTo>
                      <a:pt x="426" y="675"/>
                      <a:pt x="421" y="667"/>
                      <a:pt x="417" y="660"/>
                    </a:cubicBezTo>
                    <a:cubicBezTo>
                      <a:pt x="421" y="636"/>
                      <a:pt x="421" y="636"/>
                      <a:pt x="421" y="636"/>
                    </a:cubicBezTo>
                    <a:cubicBezTo>
                      <a:pt x="408" y="620"/>
                      <a:pt x="390" y="608"/>
                      <a:pt x="372" y="600"/>
                    </a:cubicBezTo>
                    <a:cubicBezTo>
                      <a:pt x="350" y="612"/>
                      <a:pt x="350" y="612"/>
                      <a:pt x="350" y="612"/>
                    </a:cubicBezTo>
                    <a:cubicBezTo>
                      <a:pt x="335" y="606"/>
                      <a:pt x="319" y="605"/>
                      <a:pt x="303" y="606"/>
                    </a:cubicBezTo>
                    <a:cubicBezTo>
                      <a:pt x="285" y="590"/>
                      <a:pt x="285" y="590"/>
                      <a:pt x="285" y="590"/>
                    </a:cubicBezTo>
                    <a:cubicBezTo>
                      <a:pt x="275" y="592"/>
                      <a:pt x="265" y="594"/>
                      <a:pt x="255" y="599"/>
                    </a:cubicBezTo>
                    <a:cubicBezTo>
                      <a:pt x="245" y="603"/>
                      <a:pt x="236" y="608"/>
                      <a:pt x="228" y="614"/>
                    </a:cubicBezTo>
                    <a:cubicBezTo>
                      <a:pt x="228" y="639"/>
                      <a:pt x="228" y="639"/>
                      <a:pt x="228" y="639"/>
                    </a:cubicBezTo>
                    <a:cubicBezTo>
                      <a:pt x="216" y="650"/>
                      <a:pt x="206" y="664"/>
                      <a:pt x="199" y="678"/>
                    </a:cubicBezTo>
                    <a:cubicBezTo>
                      <a:pt x="176" y="685"/>
                      <a:pt x="176" y="685"/>
                      <a:pt x="176" y="685"/>
                    </a:cubicBezTo>
                    <a:cubicBezTo>
                      <a:pt x="169" y="705"/>
                      <a:pt x="166" y="726"/>
                      <a:pt x="168" y="748"/>
                    </a:cubicBezTo>
                    <a:cubicBezTo>
                      <a:pt x="188" y="759"/>
                      <a:pt x="188" y="759"/>
                      <a:pt x="188" y="759"/>
                    </a:cubicBezTo>
                    <a:cubicBezTo>
                      <a:pt x="190" y="767"/>
                      <a:pt x="193" y="776"/>
                      <a:pt x="197" y="784"/>
                    </a:cubicBezTo>
                    <a:cubicBezTo>
                      <a:pt x="200" y="792"/>
                      <a:pt x="204" y="800"/>
                      <a:pt x="209" y="806"/>
                    </a:cubicBezTo>
                    <a:cubicBezTo>
                      <a:pt x="203" y="830"/>
                      <a:pt x="203" y="830"/>
                      <a:pt x="203" y="830"/>
                    </a:cubicBezTo>
                    <a:cubicBezTo>
                      <a:pt x="217" y="846"/>
                      <a:pt x="233" y="858"/>
                      <a:pt x="251" y="867"/>
                    </a:cubicBezTo>
                    <a:cubicBezTo>
                      <a:pt x="271" y="855"/>
                      <a:pt x="271" y="855"/>
                      <a:pt x="271" y="855"/>
                    </a:cubicBezTo>
                    <a:cubicBezTo>
                      <a:pt x="288" y="861"/>
                      <a:pt x="306" y="863"/>
                      <a:pt x="324" y="862"/>
                    </a:cubicBezTo>
                    <a:cubicBezTo>
                      <a:pt x="342" y="878"/>
                      <a:pt x="342" y="878"/>
                      <a:pt x="342" y="878"/>
                    </a:cubicBezTo>
                    <a:cubicBezTo>
                      <a:pt x="351" y="876"/>
                      <a:pt x="361" y="873"/>
                      <a:pt x="371" y="869"/>
                    </a:cubicBezTo>
                    <a:cubicBezTo>
                      <a:pt x="380" y="865"/>
                      <a:pt x="389" y="859"/>
                      <a:pt x="397" y="854"/>
                    </a:cubicBezTo>
                    <a:cubicBezTo>
                      <a:pt x="397" y="830"/>
                      <a:pt x="397" y="830"/>
                      <a:pt x="397" y="830"/>
                    </a:cubicBezTo>
                    <a:cubicBezTo>
                      <a:pt x="410" y="818"/>
                      <a:pt x="421" y="803"/>
                      <a:pt x="428" y="786"/>
                    </a:cubicBezTo>
                    <a:cubicBezTo>
                      <a:pt x="451" y="780"/>
                      <a:pt x="451" y="780"/>
                      <a:pt x="451" y="780"/>
                    </a:cubicBezTo>
                    <a:cubicBezTo>
                      <a:pt x="458" y="760"/>
                      <a:pt x="460" y="740"/>
                      <a:pt x="458" y="719"/>
                    </a:cubicBezTo>
                    <a:cubicBezTo>
                      <a:pt x="437" y="707"/>
                      <a:pt x="437" y="707"/>
                      <a:pt x="437" y="707"/>
                    </a:cubicBezTo>
                    <a:close/>
                    <a:moveTo>
                      <a:pt x="338" y="793"/>
                    </a:moveTo>
                    <a:cubicBezTo>
                      <a:pt x="305" y="807"/>
                      <a:pt x="268" y="792"/>
                      <a:pt x="254" y="759"/>
                    </a:cubicBezTo>
                    <a:cubicBezTo>
                      <a:pt x="239" y="727"/>
                      <a:pt x="254" y="688"/>
                      <a:pt x="287" y="675"/>
                    </a:cubicBezTo>
                    <a:cubicBezTo>
                      <a:pt x="295" y="671"/>
                      <a:pt x="303" y="669"/>
                      <a:pt x="312" y="669"/>
                    </a:cubicBezTo>
                    <a:cubicBezTo>
                      <a:pt x="337" y="669"/>
                      <a:pt x="361" y="684"/>
                      <a:pt x="371" y="708"/>
                    </a:cubicBezTo>
                    <a:cubicBezTo>
                      <a:pt x="385" y="741"/>
                      <a:pt x="370" y="779"/>
                      <a:pt x="338" y="793"/>
                    </a:cubicBezTo>
                    <a:close/>
                    <a:moveTo>
                      <a:pt x="499" y="180"/>
                    </a:moveTo>
                    <a:cubicBezTo>
                      <a:pt x="487" y="180"/>
                      <a:pt x="476" y="175"/>
                      <a:pt x="468" y="168"/>
                    </a:cubicBezTo>
                    <a:cubicBezTo>
                      <a:pt x="460" y="159"/>
                      <a:pt x="455" y="148"/>
                      <a:pt x="455" y="135"/>
                    </a:cubicBezTo>
                    <a:cubicBezTo>
                      <a:pt x="455" y="135"/>
                      <a:pt x="455" y="135"/>
                      <a:pt x="455" y="0"/>
                    </a:cubicBezTo>
                    <a:cubicBezTo>
                      <a:pt x="455" y="0"/>
                      <a:pt x="455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22"/>
                      <a:pt x="0" y="22"/>
                      <a:pt x="0" y="400"/>
                    </a:cubicBezTo>
                    <a:cubicBezTo>
                      <a:pt x="19" y="382"/>
                      <a:pt x="45" y="372"/>
                      <a:pt x="73" y="372"/>
                    </a:cubicBezTo>
                    <a:cubicBezTo>
                      <a:pt x="106" y="372"/>
                      <a:pt x="135" y="386"/>
                      <a:pt x="155" y="409"/>
                    </a:cubicBezTo>
                    <a:cubicBezTo>
                      <a:pt x="178" y="409"/>
                      <a:pt x="178" y="409"/>
                      <a:pt x="178" y="409"/>
                    </a:cubicBezTo>
                    <a:cubicBezTo>
                      <a:pt x="188" y="387"/>
                      <a:pt x="210" y="372"/>
                      <a:pt x="237" y="372"/>
                    </a:cubicBezTo>
                    <a:cubicBezTo>
                      <a:pt x="263" y="372"/>
                      <a:pt x="286" y="387"/>
                      <a:pt x="296" y="409"/>
                    </a:cubicBezTo>
                    <a:cubicBezTo>
                      <a:pt x="319" y="409"/>
                      <a:pt x="319" y="409"/>
                      <a:pt x="319" y="409"/>
                    </a:cubicBezTo>
                    <a:cubicBezTo>
                      <a:pt x="339" y="386"/>
                      <a:pt x="368" y="372"/>
                      <a:pt x="401" y="372"/>
                    </a:cubicBezTo>
                    <a:cubicBezTo>
                      <a:pt x="434" y="372"/>
                      <a:pt x="463" y="386"/>
                      <a:pt x="483" y="409"/>
                    </a:cubicBezTo>
                    <a:cubicBezTo>
                      <a:pt x="506" y="409"/>
                      <a:pt x="506" y="409"/>
                      <a:pt x="506" y="409"/>
                    </a:cubicBezTo>
                    <a:cubicBezTo>
                      <a:pt x="517" y="387"/>
                      <a:pt x="539" y="372"/>
                      <a:pt x="566" y="372"/>
                    </a:cubicBezTo>
                    <a:cubicBezTo>
                      <a:pt x="595" y="372"/>
                      <a:pt x="619" y="390"/>
                      <a:pt x="627" y="416"/>
                    </a:cubicBezTo>
                    <a:cubicBezTo>
                      <a:pt x="627" y="416"/>
                      <a:pt x="627" y="416"/>
                      <a:pt x="627" y="416"/>
                    </a:cubicBezTo>
                    <a:cubicBezTo>
                      <a:pt x="627" y="416"/>
                      <a:pt x="627" y="416"/>
                      <a:pt x="627" y="416"/>
                    </a:cubicBezTo>
                    <a:cubicBezTo>
                      <a:pt x="628" y="417"/>
                      <a:pt x="628" y="417"/>
                      <a:pt x="628" y="418"/>
                    </a:cubicBezTo>
                    <a:cubicBezTo>
                      <a:pt x="638" y="455"/>
                      <a:pt x="638" y="455"/>
                      <a:pt x="638" y="455"/>
                    </a:cubicBezTo>
                    <a:cubicBezTo>
                      <a:pt x="638" y="180"/>
                      <a:pt x="638" y="180"/>
                      <a:pt x="638" y="180"/>
                    </a:cubicBezTo>
                    <a:lnTo>
                      <a:pt x="499" y="180"/>
                    </a:lnTo>
                    <a:close/>
                    <a:moveTo>
                      <a:pt x="529" y="352"/>
                    </a:moveTo>
                    <a:cubicBezTo>
                      <a:pt x="529" y="352"/>
                      <a:pt x="529" y="352"/>
                      <a:pt x="126" y="352"/>
                    </a:cubicBezTo>
                    <a:cubicBezTo>
                      <a:pt x="114" y="352"/>
                      <a:pt x="104" y="342"/>
                      <a:pt x="104" y="330"/>
                    </a:cubicBezTo>
                    <a:cubicBezTo>
                      <a:pt x="104" y="318"/>
                      <a:pt x="114" y="308"/>
                      <a:pt x="126" y="308"/>
                    </a:cubicBezTo>
                    <a:cubicBezTo>
                      <a:pt x="126" y="308"/>
                      <a:pt x="126" y="308"/>
                      <a:pt x="529" y="308"/>
                    </a:cubicBezTo>
                    <a:cubicBezTo>
                      <a:pt x="541" y="308"/>
                      <a:pt x="551" y="318"/>
                      <a:pt x="551" y="330"/>
                    </a:cubicBezTo>
                    <a:cubicBezTo>
                      <a:pt x="551" y="342"/>
                      <a:pt x="541" y="352"/>
                      <a:pt x="529" y="352"/>
                    </a:cubicBezTo>
                    <a:close/>
                    <a:moveTo>
                      <a:pt x="529" y="251"/>
                    </a:moveTo>
                    <a:cubicBezTo>
                      <a:pt x="529" y="251"/>
                      <a:pt x="529" y="251"/>
                      <a:pt x="126" y="251"/>
                    </a:cubicBezTo>
                    <a:cubicBezTo>
                      <a:pt x="114" y="251"/>
                      <a:pt x="104" y="241"/>
                      <a:pt x="104" y="229"/>
                    </a:cubicBezTo>
                    <a:cubicBezTo>
                      <a:pt x="104" y="217"/>
                      <a:pt x="114" y="207"/>
                      <a:pt x="126" y="207"/>
                    </a:cubicBezTo>
                    <a:cubicBezTo>
                      <a:pt x="126" y="207"/>
                      <a:pt x="126" y="207"/>
                      <a:pt x="529" y="207"/>
                    </a:cubicBezTo>
                    <a:cubicBezTo>
                      <a:pt x="541" y="207"/>
                      <a:pt x="551" y="217"/>
                      <a:pt x="551" y="229"/>
                    </a:cubicBezTo>
                    <a:cubicBezTo>
                      <a:pt x="551" y="241"/>
                      <a:pt x="541" y="251"/>
                      <a:pt x="529" y="25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5C0A029-4102-48BC-B205-9DDFCE995E8C}"/>
              </a:ext>
            </a:extLst>
          </p:cNvPr>
          <p:cNvGrpSpPr/>
          <p:nvPr/>
        </p:nvGrpSpPr>
        <p:grpSpPr>
          <a:xfrm>
            <a:off x="3856188" y="3280444"/>
            <a:ext cx="593658" cy="593658"/>
            <a:chOff x="853480" y="1640078"/>
            <a:chExt cx="593658" cy="593658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090A117B-140F-40E4-A9A9-D11D8E03A394}"/>
                </a:ext>
              </a:extLst>
            </p:cNvPr>
            <p:cNvSpPr/>
            <p:nvPr/>
          </p:nvSpPr>
          <p:spPr>
            <a:xfrm>
              <a:off x="853480" y="1640078"/>
              <a:ext cx="593658" cy="59365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6AE312E1-9D05-4879-A20E-D341E926D67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1709" y="1708307"/>
              <a:ext cx="457200" cy="457200"/>
              <a:chOff x="7324948" y="3200401"/>
              <a:chExt cx="457200" cy="457200"/>
            </a:xfrm>
          </p:grpSpPr>
          <p:sp>
            <p:nvSpPr>
              <p:cNvPr id="103" name="AutoShape 8">
                <a:extLst>
                  <a:ext uri="{FF2B5EF4-FFF2-40B4-BE49-F238E27FC236}">
                    <a16:creationId xmlns:a16="http://schemas.microsoft.com/office/drawing/2014/main" id="{BC77C1F9-1115-4E69-89A9-B1C96E06F11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324948" y="3200401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10">
                <a:extLst>
                  <a:ext uri="{FF2B5EF4-FFF2-40B4-BE49-F238E27FC236}">
                    <a16:creationId xmlns:a16="http://schemas.microsoft.com/office/drawing/2014/main" id="{C1037E85-FD90-4D27-9261-F1A62B551B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40534" y="3284106"/>
                <a:ext cx="436226" cy="291138"/>
              </a:xfrm>
              <a:custGeom>
                <a:avLst/>
                <a:gdLst>
                  <a:gd name="T0" fmla="*/ 435 w 953"/>
                  <a:gd name="T1" fmla="*/ 114 h 636"/>
                  <a:gd name="T2" fmla="*/ 399 w 953"/>
                  <a:gd name="T3" fmla="*/ 136 h 636"/>
                  <a:gd name="T4" fmla="*/ 346 w 953"/>
                  <a:gd name="T5" fmla="*/ 190 h 636"/>
                  <a:gd name="T6" fmla="*/ 341 w 953"/>
                  <a:gd name="T7" fmla="*/ 136 h 636"/>
                  <a:gd name="T8" fmla="*/ 282 w 953"/>
                  <a:gd name="T9" fmla="*/ 114 h 636"/>
                  <a:gd name="T10" fmla="*/ 304 w 953"/>
                  <a:gd name="T11" fmla="*/ 0 h 636"/>
                  <a:gd name="T12" fmla="*/ 435 w 953"/>
                  <a:gd name="T13" fmla="*/ 21 h 636"/>
                  <a:gd name="T14" fmla="*/ 594 w 953"/>
                  <a:gd name="T15" fmla="*/ 212 h 636"/>
                  <a:gd name="T16" fmla="*/ 599 w 953"/>
                  <a:gd name="T17" fmla="*/ 158 h 636"/>
                  <a:gd name="T18" fmla="*/ 658 w 953"/>
                  <a:gd name="T19" fmla="*/ 136 h 636"/>
                  <a:gd name="T20" fmla="*/ 636 w 953"/>
                  <a:gd name="T21" fmla="*/ 22 h 636"/>
                  <a:gd name="T22" fmla="*/ 482 w 953"/>
                  <a:gd name="T23" fmla="*/ 23 h 636"/>
                  <a:gd name="T24" fmla="*/ 467 w 953"/>
                  <a:gd name="T25" fmla="*/ 43 h 636"/>
                  <a:gd name="T26" fmla="*/ 467 w 953"/>
                  <a:gd name="T27" fmla="*/ 136 h 636"/>
                  <a:gd name="T28" fmla="*/ 540 w 953"/>
                  <a:gd name="T29" fmla="*/ 158 h 636"/>
                  <a:gd name="T30" fmla="*/ 358 w 953"/>
                  <a:gd name="T31" fmla="*/ 406 h 636"/>
                  <a:gd name="T32" fmla="*/ 338 w 953"/>
                  <a:gd name="T33" fmla="*/ 359 h 636"/>
                  <a:gd name="T34" fmla="*/ 332 w 953"/>
                  <a:gd name="T35" fmla="*/ 293 h 636"/>
                  <a:gd name="T36" fmla="*/ 358 w 953"/>
                  <a:gd name="T37" fmla="*/ 238 h 636"/>
                  <a:gd name="T38" fmla="*/ 38 w 953"/>
                  <a:gd name="T39" fmla="*/ 313 h 636"/>
                  <a:gd name="T40" fmla="*/ 93 w 953"/>
                  <a:gd name="T41" fmla="*/ 601 h 636"/>
                  <a:gd name="T42" fmla="*/ 246 w 953"/>
                  <a:gd name="T43" fmla="*/ 635 h 636"/>
                  <a:gd name="T44" fmla="*/ 255 w 953"/>
                  <a:gd name="T45" fmla="*/ 562 h 636"/>
                  <a:gd name="T46" fmla="*/ 342 w 953"/>
                  <a:gd name="T47" fmla="*/ 517 h 636"/>
                  <a:gd name="T48" fmla="*/ 340 w 953"/>
                  <a:gd name="T49" fmla="*/ 463 h 636"/>
                  <a:gd name="T50" fmla="*/ 361 w 953"/>
                  <a:gd name="T51" fmla="*/ 409 h 636"/>
                  <a:gd name="T52" fmla="*/ 880 w 953"/>
                  <a:gd name="T53" fmla="*/ 308 h 636"/>
                  <a:gd name="T54" fmla="*/ 580 w 953"/>
                  <a:gd name="T55" fmla="*/ 281 h 636"/>
                  <a:gd name="T56" fmla="*/ 572 w 953"/>
                  <a:gd name="T57" fmla="*/ 340 h 636"/>
                  <a:gd name="T58" fmla="*/ 552 w 953"/>
                  <a:gd name="T59" fmla="*/ 410 h 636"/>
                  <a:gd name="T60" fmla="*/ 575 w 953"/>
                  <a:gd name="T61" fmla="*/ 464 h 636"/>
                  <a:gd name="T62" fmla="*/ 584 w 953"/>
                  <a:gd name="T63" fmla="*/ 547 h 636"/>
                  <a:gd name="T64" fmla="*/ 664 w 953"/>
                  <a:gd name="T65" fmla="*/ 555 h 636"/>
                  <a:gd name="T66" fmla="*/ 673 w 953"/>
                  <a:gd name="T67" fmla="*/ 636 h 636"/>
                  <a:gd name="T68" fmla="*/ 787 w 953"/>
                  <a:gd name="T69" fmla="*/ 611 h 636"/>
                  <a:gd name="T70" fmla="*/ 794 w 953"/>
                  <a:gd name="T71" fmla="*/ 556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53" h="636">
                    <a:moveTo>
                      <a:pt x="435" y="21"/>
                    </a:moveTo>
                    <a:cubicBezTo>
                      <a:pt x="435" y="114"/>
                      <a:pt x="435" y="114"/>
                      <a:pt x="435" y="114"/>
                    </a:cubicBezTo>
                    <a:cubicBezTo>
                      <a:pt x="435" y="122"/>
                      <a:pt x="436" y="129"/>
                      <a:pt x="439" y="136"/>
                    </a:cubicBezTo>
                    <a:cubicBezTo>
                      <a:pt x="399" y="136"/>
                      <a:pt x="399" y="136"/>
                      <a:pt x="399" y="136"/>
                    </a:cubicBezTo>
                    <a:cubicBezTo>
                      <a:pt x="380" y="155"/>
                      <a:pt x="359" y="179"/>
                      <a:pt x="353" y="185"/>
                    </a:cubicBezTo>
                    <a:cubicBezTo>
                      <a:pt x="350" y="188"/>
                      <a:pt x="348" y="190"/>
                      <a:pt x="346" y="190"/>
                    </a:cubicBezTo>
                    <a:cubicBezTo>
                      <a:pt x="342" y="190"/>
                      <a:pt x="341" y="185"/>
                      <a:pt x="341" y="185"/>
                    </a:cubicBezTo>
                    <a:cubicBezTo>
                      <a:pt x="341" y="136"/>
                      <a:pt x="341" y="136"/>
                      <a:pt x="341" y="136"/>
                    </a:cubicBezTo>
                    <a:cubicBezTo>
                      <a:pt x="304" y="136"/>
                      <a:pt x="304" y="136"/>
                      <a:pt x="304" y="136"/>
                    </a:cubicBezTo>
                    <a:cubicBezTo>
                      <a:pt x="292" y="136"/>
                      <a:pt x="282" y="126"/>
                      <a:pt x="282" y="114"/>
                    </a:cubicBezTo>
                    <a:cubicBezTo>
                      <a:pt x="282" y="21"/>
                      <a:pt x="282" y="21"/>
                      <a:pt x="282" y="21"/>
                    </a:cubicBezTo>
                    <a:cubicBezTo>
                      <a:pt x="282" y="9"/>
                      <a:pt x="292" y="0"/>
                      <a:pt x="304" y="0"/>
                    </a:cubicBezTo>
                    <a:cubicBezTo>
                      <a:pt x="387" y="0"/>
                      <a:pt x="423" y="0"/>
                      <a:pt x="439" y="0"/>
                    </a:cubicBezTo>
                    <a:cubicBezTo>
                      <a:pt x="436" y="6"/>
                      <a:pt x="435" y="14"/>
                      <a:pt x="435" y="21"/>
                    </a:cubicBezTo>
                    <a:close/>
                    <a:moveTo>
                      <a:pt x="587" y="208"/>
                    </a:moveTo>
                    <a:cubicBezTo>
                      <a:pt x="590" y="211"/>
                      <a:pt x="592" y="212"/>
                      <a:pt x="594" y="212"/>
                    </a:cubicBezTo>
                    <a:cubicBezTo>
                      <a:pt x="598" y="212"/>
                      <a:pt x="599" y="208"/>
                      <a:pt x="599" y="208"/>
                    </a:cubicBezTo>
                    <a:cubicBezTo>
                      <a:pt x="599" y="158"/>
                      <a:pt x="599" y="158"/>
                      <a:pt x="599" y="158"/>
                    </a:cubicBezTo>
                    <a:cubicBezTo>
                      <a:pt x="636" y="158"/>
                      <a:pt x="636" y="158"/>
                      <a:pt x="636" y="158"/>
                    </a:cubicBezTo>
                    <a:cubicBezTo>
                      <a:pt x="648" y="158"/>
                      <a:pt x="658" y="148"/>
                      <a:pt x="658" y="136"/>
                    </a:cubicBezTo>
                    <a:cubicBezTo>
                      <a:pt x="658" y="43"/>
                      <a:pt x="658" y="43"/>
                      <a:pt x="658" y="43"/>
                    </a:cubicBezTo>
                    <a:cubicBezTo>
                      <a:pt x="658" y="31"/>
                      <a:pt x="648" y="22"/>
                      <a:pt x="636" y="22"/>
                    </a:cubicBezTo>
                    <a:cubicBezTo>
                      <a:pt x="488" y="22"/>
                      <a:pt x="488" y="22"/>
                      <a:pt x="488" y="22"/>
                    </a:cubicBezTo>
                    <a:cubicBezTo>
                      <a:pt x="486" y="22"/>
                      <a:pt x="484" y="22"/>
                      <a:pt x="482" y="23"/>
                    </a:cubicBezTo>
                    <a:cubicBezTo>
                      <a:pt x="481" y="23"/>
                      <a:pt x="480" y="23"/>
                      <a:pt x="479" y="24"/>
                    </a:cubicBezTo>
                    <a:cubicBezTo>
                      <a:pt x="472" y="27"/>
                      <a:pt x="467" y="34"/>
                      <a:pt x="467" y="43"/>
                    </a:cubicBezTo>
                    <a:cubicBezTo>
                      <a:pt x="467" y="116"/>
                      <a:pt x="467" y="132"/>
                      <a:pt x="467" y="136"/>
                    </a:cubicBezTo>
                    <a:cubicBezTo>
                      <a:pt x="467" y="136"/>
                      <a:pt x="467" y="136"/>
                      <a:pt x="467" y="136"/>
                    </a:cubicBezTo>
                    <a:cubicBezTo>
                      <a:pt x="467" y="148"/>
                      <a:pt x="476" y="158"/>
                      <a:pt x="488" y="158"/>
                    </a:cubicBezTo>
                    <a:cubicBezTo>
                      <a:pt x="540" y="158"/>
                      <a:pt x="540" y="158"/>
                      <a:pt x="540" y="158"/>
                    </a:cubicBezTo>
                    <a:cubicBezTo>
                      <a:pt x="559" y="177"/>
                      <a:pt x="580" y="201"/>
                      <a:pt x="587" y="208"/>
                    </a:cubicBezTo>
                    <a:close/>
                    <a:moveTo>
                      <a:pt x="358" y="406"/>
                    </a:moveTo>
                    <a:cubicBezTo>
                      <a:pt x="353" y="401"/>
                      <a:pt x="347" y="389"/>
                      <a:pt x="342" y="375"/>
                    </a:cubicBezTo>
                    <a:cubicBezTo>
                      <a:pt x="341" y="371"/>
                      <a:pt x="339" y="365"/>
                      <a:pt x="338" y="359"/>
                    </a:cubicBezTo>
                    <a:cubicBezTo>
                      <a:pt x="337" y="351"/>
                      <a:pt x="335" y="342"/>
                      <a:pt x="333" y="336"/>
                    </a:cubicBezTo>
                    <a:cubicBezTo>
                      <a:pt x="330" y="327"/>
                      <a:pt x="331" y="293"/>
                      <a:pt x="332" y="293"/>
                    </a:cubicBezTo>
                    <a:cubicBezTo>
                      <a:pt x="332" y="293"/>
                      <a:pt x="333" y="293"/>
                      <a:pt x="333" y="292"/>
                    </a:cubicBezTo>
                    <a:cubicBezTo>
                      <a:pt x="338" y="271"/>
                      <a:pt x="368" y="238"/>
                      <a:pt x="358" y="238"/>
                    </a:cubicBezTo>
                    <a:cubicBezTo>
                      <a:pt x="264" y="240"/>
                      <a:pt x="294" y="214"/>
                      <a:pt x="193" y="214"/>
                    </a:cubicBezTo>
                    <a:cubicBezTo>
                      <a:pt x="104" y="214"/>
                      <a:pt x="60" y="267"/>
                      <a:pt x="38" y="313"/>
                    </a:cubicBezTo>
                    <a:cubicBezTo>
                      <a:pt x="0" y="395"/>
                      <a:pt x="63" y="476"/>
                      <a:pt x="93" y="508"/>
                    </a:cubicBezTo>
                    <a:cubicBezTo>
                      <a:pt x="93" y="601"/>
                      <a:pt x="93" y="601"/>
                      <a:pt x="93" y="601"/>
                    </a:cubicBezTo>
                    <a:cubicBezTo>
                      <a:pt x="93" y="605"/>
                      <a:pt x="95" y="609"/>
                      <a:pt x="99" y="610"/>
                    </a:cubicBezTo>
                    <a:cubicBezTo>
                      <a:pt x="161" y="635"/>
                      <a:pt x="240" y="635"/>
                      <a:pt x="246" y="635"/>
                    </a:cubicBezTo>
                    <a:cubicBezTo>
                      <a:pt x="251" y="635"/>
                      <a:pt x="255" y="632"/>
                      <a:pt x="255" y="627"/>
                    </a:cubicBezTo>
                    <a:cubicBezTo>
                      <a:pt x="255" y="562"/>
                      <a:pt x="255" y="562"/>
                      <a:pt x="255" y="562"/>
                    </a:cubicBezTo>
                    <a:cubicBezTo>
                      <a:pt x="293" y="566"/>
                      <a:pt x="322" y="562"/>
                      <a:pt x="330" y="558"/>
                    </a:cubicBezTo>
                    <a:cubicBezTo>
                      <a:pt x="340" y="553"/>
                      <a:pt x="341" y="540"/>
                      <a:pt x="342" y="517"/>
                    </a:cubicBezTo>
                    <a:cubicBezTo>
                      <a:pt x="343" y="514"/>
                      <a:pt x="343" y="514"/>
                      <a:pt x="343" y="514"/>
                    </a:cubicBezTo>
                    <a:cubicBezTo>
                      <a:pt x="344" y="499"/>
                      <a:pt x="342" y="477"/>
                      <a:pt x="340" y="463"/>
                    </a:cubicBezTo>
                    <a:cubicBezTo>
                      <a:pt x="369" y="462"/>
                      <a:pt x="377" y="448"/>
                      <a:pt x="378" y="442"/>
                    </a:cubicBezTo>
                    <a:cubicBezTo>
                      <a:pt x="382" y="432"/>
                      <a:pt x="372" y="421"/>
                      <a:pt x="361" y="409"/>
                    </a:cubicBezTo>
                    <a:cubicBezTo>
                      <a:pt x="359" y="408"/>
                      <a:pt x="358" y="407"/>
                      <a:pt x="358" y="406"/>
                    </a:cubicBezTo>
                    <a:close/>
                    <a:moveTo>
                      <a:pt x="880" y="308"/>
                    </a:moveTo>
                    <a:cubicBezTo>
                      <a:pt x="858" y="262"/>
                      <a:pt x="805" y="214"/>
                      <a:pt x="717" y="214"/>
                    </a:cubicBezTo>
                    <a:cubicBezTo>
                      <a:pt x="617" y="214"/>
                      <a:pt x="575" y="260"/>
                      <a:pt x="580" y="281"/>
                    </a:cubicBezTo>
                    <a:cubicBezTo>
                      <a:pt x="582" y="285"/>
                      <a:pt x="584" y="288"/>
                      <a:pt x="587" y="292"/>
                    </a:cubicBezTo>
                    <a:cubicBezTo>
                      <a:pt x="582" y="298"/>
                      <a:pt x="570" y="314"/>
                      <a:pt x="572" y="340"/>
                    </a:cubicBezTo>
                    <a:cubicBezTo>
                      <a:pt x="573" y="354"/>
                      <a:pt x="571" y="376"/>
                      <a:pt x="570" y="381"/>
                    </a:cubicBezTo>
                    <a:cubicBezTo>
                      <a:pt x="566" y="390"/>
                      <a:pt x="560" y="402"/>
                      <a:pt x="552" y="410"/>
                    </a:cubicBezTo>
                    <a:cubicBezTo>
                      <a:pt x="544" y="418"/>
                      <a:pt x="531" y="434"/>
                      <a:pt x="536" y="445"/>
                    </a:cubicBezTo>
                    <a:cubicBezTo>
                      <a:pt x="539" y="452"/>
                      <a:pt x="551" y="464"/>
                      <a:pt x="575" y="464"/>
                    </a:cubicBezTo>
                    <a:cubicBezTo>
                      <a:pt x="574" y="472"/>
                      <a:pt x="574" y="482"/>
                      <a:pt x="574" y="493"/>
                    </a:cubicBezTo>
                    <a:cubicBezTo>
                      <a:pt x="574" y="532"/>
                      <a:pt x="579" y="542"/>
                      <a:pt x="584" y="547"/>
                    </a:cubicBezTo>
                    <a:cubicBezTo>
                      <a:pt x="588" y="552"/>
                      <a:pt x="598" y="557"/>
                      <a:pt x="635" y="557"/>
                    </a:cubicBezTo>
                    <a:cubicBezTo>
                      <a:pt x="642" y="557"/>
                      <a:pt x="654" y="556"/>
                      <a:pt x="664" y="555"/>
                    </a:cubicBezTo>
                    <a:cubicBezTo>
                      <a:pt x="664" y="627"/>
                      <a:pt x="664" y="627"/>
                      <a:pt x="664" y="627"/>
                    </a:cubicBezTo>
                    <a:cubicBezTo>
                      <a:pt x="664" y="632"/>
                      <a:pt x="668" y="636"/>
                      <a:pt x="673" y="636"/>
                    </a:cubicBezTo>
                    <a:cubicBezTo>
                      <a:pt x="674" y="636"/>
                      <a:pt x="677" y="636"/>
                      <a:pt x="683" y="636"/>
                    </a:cubicBezTo>
                    <a:cubicBezTo>
                      <a:pt x="703" y="636"/>
                      <a:pt x="749" y="634"/>
                      <a:pt x="787" y="611"/>
                    </a:cubicBezTo>
                    <a:cubicBezTo>
                      <a:pt x="790" y="609"/>
                      <a:pt x="791" y="606"/>
                      <a:pt x="792" y="603"/>
                    </a:cubicBezTo>
                    <a:cubicBezTo>
                      <a:pt x="794" y="556"/>
                      <a:pt x="794" y="556"/>
                      <a:pt x="794" y="556"/>
                    </a:cubicBezTo>
                    <a:cubicBezTo>
                      <a:pt x="856" y="532"/>
                      <a:pt x="953" y="460"/>
                      <a:pt x="880" y="30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222" name="Group 9221">
            <a:extLst>
              <a:ext uri="{FF2B5EF4-FFF2-40B4-BE49-F238E27FC236}">
                <a16:creationId xmlns:a16="http://schemas.microsoft.com/office/drawing/2014/main" id="{65FD52C1-A4EA-4124-99E7-459BD90AD425}"/>
              </a:ext>
            </a:extLst>
          </p:cNvPr>
          <p:cNvGrpSpPr/>
          <p:nvPr/>
        </p:nvGrpSpPr>
        <p:grpSpPr>
          <a:xfrm>
            <a:off x="1177006" y="3302760"/>
            <a:ext cx="593658" cy="593658"/>
            <a:chOff x="7831185" y="2497413"/>
            <a:chExt cx="593658" cy="593658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6A0D27BB-190E-4B60-9BCC-C15618F079AB}"/>
                </a:ext>
              </a:extLst>
            </p:cNvPr>
            <p:cNvSpPr/>
            <p:nvPr/>
          </p:nvSpPr>
          <p:spPr>
            <a:xfrm>
              <a:off x="7831185" y="2497413"/>
              <a:ext cx="593658" cy="5936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105" name="Group 65">
              <a:extLst>
                <a:ext uri="{FF2B5EF4-FFF2-40B4-BE49-F238E27FC236}">
                  <a16:creationId xmlns:a16="http://schemas.microsoft.com/office/drawing/2014/main" id="{8A68C547-4210-4A81-9DCA-EFA1390CE67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899925" y="2565642"/>
              <a:ext cx="456178" cy="457200"/>
              <a:chOff x="4374" y="1589"/>
              <a:chExt cx="446" cy="447"/>
            </a:xfrm>
          </p:grpSpPr>
          <p:sp>
            <p:nvSpPr>
              <p:cNvPr id="106" name="AutoShape 64">
                <a:extLst>
                  <a:ext uri="{FF2B5EF4-FFF2-40B4-BE49-F238E27FC236}">
                    <a16:creationId xmlns:a16="http://schemas.microsoft.com/office/drawing/2014/main" id="{5CC2AF2A-00EF-4491-88AB-3365867A7E1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4374" y="1589"/>
                <a:ext cx="446" cy="4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66">
                <a:extLst>
                  <a:ext uri="{FF2B5EF4-FFF2-40B4-BE49-F238E27FC236}">
                    <a16:creationId xmlns:a16="http://schemas.microsoft.com/office/drawing/2014/main" id="{62ED0878-F7A3-4B78-997C-7467FC2748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16" y="1677"/>
                <a:ext cx="363" cy="286"/>
              </a:xfrm>
              <a:custGeom>
                <a:avLst/>
                <a:gdLst>
                  <a:gd name="T0" fmla="*/ 161 w 826"/>
                  <a:gd name="T1" fmla="*/ 543 h 650"/>
                  <a:gd name="T2" fmla="*/ 177 w 826"/>
                  <a:gd name="T3" fmla="*/ 650 h 650"/>
                  <a:gd name="T4" fmla="*/ 193 w 826"/>
                  <a:gd name="T5" fmla="*/ 543 h 650"/>
                  <a:gd name="T6" fmla="*/ 32 w 826"/>
                  <a:gd name="T7" fmla="*/ 123 h 650"/>
                  <a:gd name="T8" fmla="*/ 48 w 826"/>
                  <a:gd name="T9" fmla="*/ 16 h 650"/>
                  <a:gd name="T10" fmla="*/ 16 w 826"/>
                  <a:gd name="T11" fmla="*/ 16 h 650"/>
                  <a:gd name="T12" fmla="*/ 32 w 826"/>
                  <a:gd name="T13" fmla="*/ 123 h 650"/>
                  <a:gd name="T14" fmla="*/ 209 w 826"/>
                  <a:gd name="T15" fmla="*/ 119 h 650"/>
                  <a:gd name="T16" fmla="*/ 82 w 826"/>
                  <a:gd name="T17" fmla="*/ 119 h 650"/>
                  <a:gd name="T18" fmla="*/ 146 w 826"/>
                  <a:gd name="T19" fmla="*/ 87 h 650"/>
                  <a:gd name="T20" fmla="*/ 146 w 826"/>
                  <a:gd name="T21" fmla="*/ 151 h 650"/>
                  <a:gd name="T22" fmla="*/ 146 w 826"/>
                  <a:gd name="T23" fmla="*/ 87 h 650"/>
                  <a:gd name="T24" fmla="*/ 0 w 826"/>
                  <a:gd name="T25" fmla="*/ 549 h 650"/>
                  <a:gd name="T26" fmla="*/ 127 w 826"/>
                  <a:gd name="T27" fmla="*/ 549 h 650"/>
                  <a:gd name="T28" fmla="*/ 64 w 826"/>
                  <a:gd name="T29" fmla="*/ 581 h 650"/>
                  <a:gd name="T30" fmla="*/ 64 w 826"/>
                  <a:gd name="T31" fmla="*/ 517 h 650"/>
                  <a:gd name="T32" fmla="*/ 64 w 826"/>
                  <a:gd name="T33" fmla="*/ 581 h 650"/>
                  <a:gd name="T34" fmla="*/ 181 w 826"/>
                  <a:gd name="T35" fmla="*/ 344 h 650"/>
                  <a:gd name="T36" fmla="*/ 190 w 826"/>
                  <a:gd name="T37" fmla="*/ 363 h 650"/>
                  <a:gd name="T38" fmla="*/ 197 w 826"/>
                  <a:gd name="T39" fmla="*/ 334 h 650"/>
                  <a:gd name="T40" fmla="*/ 684 w 826"/>
                  <a:gd name="T41" fmla="*/ 344 h 650"/>
                  <a:gd name="T42" fmla="*/ 471 w 826"/>
                  <a:gd name="T43" fmla="*/ 54 h 650"/>
                  <a:gd name="T44" fmla="*/ 471 w 826"/>
                  <a:gd name="T45" fmla="*/ 634 h 650"/>
                  <a:gd name="T46" fmla="*/ 684 w 826"/>
                  <a:gd name="T47" fmla="*/ 344 h 650"/>
                  <a:gd name="T48" fmla="*/ 619 w 826"/>
                  <a:gd name="T49" fmla="*/ 54 h 650"/>
                  <a:gd name="T50" fmla="*/ 619 w 826"/>
                  <a:gd name="T51" fmla="*/ 634 h 650"/>
                  <a:gd name="T52" fmla="*/ 826 w 826"/>
                  <a:gd name="T53" fmla="*/ 344 h 650"/>
                  <a:gd name="T54" fmla="*/ 537 w 826"/>
                  <a:gd name="T55" fmla="*/ 344 h 650"/>
                  <a:gd name="T56" fmla="*/ 328 w 826"/>
                  <a:gd name="T57" fmla="*/ 54 h 650"/>
                  <a:gd name="T58" fmla="*/ 328 w 826"/>
                  <a:gd name="T59" fmla="*/ 634 h 650"/>
                  <a:gd name="T60" fmla="*/ 537 w 826"/>
                  <a:gd name="T61" fmla="*/ 344 h 650"/>
                  <a:gd name="T62" fmla="*/ 274 w 826"/>
                  <a:gd name="T63" fmla="*/ 430 h 650"/>
                  <a:gd name="T64" fmla="*/ 322 w 826"/>
                  <a:gd name="T65" fmla="*/ 374 h 650"/>
                  <a:gd name="T66" fmla="*/ 300 w 826"/>
                  <a:gd name="T67" fmla="*/ 303 h 650"/>
                  <a:gd name="T68" fmla="*/ 274 w 826"/>
                  <a:gd name="T69" fmla="*/ 260 h 650"/>
                  <a:gd name="T70" fmla="*/ 224 w 826"/>
                  <a:gd name="T71" fmla="*/ 205 h 650"/>
                  <a:gd name="T72" fmla="*/ 157 w 826"/>
                  <a:gd name="T73" fmla="*/ 219 h 650"/>
                  <a:gd name="T74" fmla="*/ 109 w 826"/>
                  <a:gd name="T75" fmla="*/ 217 h 650"/>
                  <a:gd name="T76" fmla="*/ 88 w 826"/>
                  <a:gd name="T77" fmla="*/ 260 h 650"/>
                  <a:gd name="T78" fmla="*/ 42 w 826"/>
                  <a:gd name="T79" fmla="*/ 312 h 650"/>
                  <a:gd name="T80" fmla="*/ 63 w 826"/>
                  <a:gd name="T81" fmla="*/ 383 h 650"/>
                  <a:gd name="T82" fmla="*/ 87 w 826"/>
                  <a:gd name="T83" fmla="*/ 428 h 650"/>
                  <a:gd name="T84" fmla="*/ 135 w 826"/>
                  <a:gd name="T85" fmla="*/ 483 h 650"/>
                  <a:gd name="T86" fmla="*/ 207 w 826"/>
                  <a:gd name="T87" fmla="*/ 470 h 650"/>
                  <a:gd name="T88" fmla="*/ 253 w 826"/>
                  <a:gd name="T89" fmla="*/ 472 h 650"/>
                  <a:gd name="T90" fmla="*/ 212 w 826"/>
                  <a:gd name="T91" fmla="*/ 400 h 650"/>
                  <a:gd name="T92" fmla="*/ 149 w 826"/>
                  <a:gd name="T93" fmla="*/ 289 h 650"/>
                  <a:gd name="T94" fmla="*/ 235 w 826"/>
                  <a:gd name="T95" fmla="*/ 312 h 650"/>
                  <a:gd name="T96" fmla="*/ 288 w 826"/>
                  <a:gd name="T97" fmla="*/ 54 h 650"/>
                  <a:gd name="T98" fmla="*/ 253 w 826"/>
                  <a:gd name="T99" fmla="*/ 119 h 650"/>
                  <a:gd name="T100" fmla="*/ 307 w 826"/>
                  <a:gd name="T101" fmla="*/ 204 h 650"/>
                  <a:gd name="T102" fmla="*/ 320 w 826"/>
                  <a:gd name="T103" fmla="*/ 247 h 650"/>
                  <a:gd name="T104" fmla="*/ 334 w 826"/>
                  <a:gd name="T105" fmla="*/ 271 h 650"/>
                  <a:gd name="T106" fmla="*/ 364 w 826"/>
                  <a:gd name="T107" fmla="*/ 305 h 650"/>
                  <a:gd name="T108" fmla="*/ 361 w 826"/>
                  <a:gd name="T109" fmla="*/ 405 h 650"/>
                  <a:gd name="T110" fmla="*/ 320 w 826"/>
                  <a:gd name="T111" fmla="*/ 442 h 650"/>
                  <a:gd name="T112" fmla="*/ 305 w 826"/>
                  <a:gd name="T113" fmla="*/ 488 h 650"/>
                  <a:gd name="T114" fmla="*/ 274 w 826"/>
                  <a:gd name="T115" fmla="*/ 511 h 650"/>
                  <a:gd name="T116" fmla="*/ 242 w 826"/>
                  <a:gd name="T117" fmla="*/ 525 h 650"/>
                  <a:gd name="T118" fmla="*/ 237 w 826"/>
                  <a:gd name="T119" fmla="*/ 543 h 650"/>
                  <a:gd name="T120" fmla="*/ 288 w 826"/>
                  <a:gd name="T121" fmla="*/ 634 h 650"/>
                  <a:gd name="T122" fmla="*/ 288 w 826"/>
                  <a:gd name="T123" fmla="*/ 54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26" h="650">
                    <a:moveTo>
                      <a:pt x="177" y="527"/>
                    </a:moveTo>
                    <a:cubicBezTo>
                      <a:pt x="169" y="527"/>
                      <a:pt x="161" y="534"/>
                      <a:pt x="161" y="543"/>
                    </a:cubicBezTo>
                    <a:cubicBezTo>
                      <a:pt x="161" y="635"/>
                      <a:pt x="161" y="635"/>
                      <a:pt x="161" y="635"/>
                    </a:cubicBezTo>
                    <a:cubicBezTo>
                      <a:pt x="161" y="643"/>
                      <a:pt x="169" y="650"/>
                      <a:pt x="177" y="650"/>
                    </a:cubicBezTo>
                    <a:cubicBezTo>
                      <a:pt x="186" y="650"/>
                      <a:pt x="193" y="643"/>
                      <a:pt x="193" y="635"/>
                    </a:cubicBezTo>
                    <a:cubicBezTo>
                      <a:pt x="193" y="543"/>
                      <a:pt x="193" y="543"/>
                      <a:pt x="193" y="543"/>
                    </a:cubicBezTo>
                    <a:cubicBezTo>
                      <a:pt x="193" y="534"/>
                      <a:pt x="186" y="527"/>
                      <a:pt x="177" y="527"/>
                    </a:cubicBezTo>
                    <a:close/>
                    <a:moveTo>
                      <a:pt x="32" y="123"/>
                    </a:moveTo>
                    <a:cubicBezTo>
                      <a:pt x="41" y="123"/>
                      <a:pt x="48" y="116"/>
                      <a:pt x="48" y="108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8" y="7"/>
                      <a:pt x="41" y="0"/>
                      <a:pt x="32" y="0"/>
                    </a:cubicBezTo>
                    <a:cubicBezTo>
                      <a:pt x="23" y="0"/>
                      <a:pt x="16" y="7"/>
                      <a:pt x="16" y="16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6" y="116"/>
                      <a:pt x="23" y="123"/>
                      <a:pt x="32" y="123"/>
                    </a:cubicBezTo>
                    <a:close/>
                    <a:moveTo>
                      <a:pt x="146" y="182"/>
                    </a:moveTo>
                    <a:cubicBezTo>
                      <a:pt x="181" y="182"/>
                      <a:pt x="209" y="154"/>
                      <a:pt x="209" y="119"/>
                    </a:cubicBezTo>
                    <a:cubicBezTo>
                      <a:pt x="209" y="84"/>
                      <a:pt x="181" y="55"/>
                      <a:pt x="146" y="55"/>
                    </a:cubicBezTo>
                    <a:cubicBezTo>
                      <a:pt x="110" y="55"/>
                      <a:pt x="82" y="84"/>
                      <a:pt x="82" y="119"/>
                    </a:cubicBezTo>
                    <a:cubicBezTo>
                      <a:pt x="82" y="154"/>
                      <a:pt x="110" y="182"/>
                      <a:pt x="146" y="182"/>
                    </a:cubicBezTo>
                    <a:close/>
                    <a:moveTo>
                      <a:pt x="146" y="87"/>
                    </a:moveTo>
                    <a:cubicBezTo>
                      <a:pt x="163" y="87"/>
                      <a:pt x="177" y="101"/>
                      <a:pt x="177" y="119"/>
                    </a:cubicBezTo>
                    <a:cubicBezTo>
                      <a:pt x="177" y="136"/>
                      <a:pt x="163" y="151"/>
                      <a:pt x="146" y="151"/>
                    </a:cubicBezTo>
                    <a:cubicBezTo>
                      <a:pt x="128" y="151"/>
                      <a:pt x="114" y="136"/>
                      <a:pt x="114" y="119"/>
                    </a:cubicBezTo>
                    <a:cubicBezTo>
                      <a:pt x="114" y="101"/>
                      <a:pt x="128" y="87"/>
                      <a:pt x="146" y="87"/>
                    </a:cubicBezTo>
                    <a:close/>
                    <a:moveTo>
                      <a:pt x="64" y="485"/>
                    </a:moveTo>
                    <a:cubicBezTo>
                      <a:pt x="29" y="485"/>
                      <a:pt x="0" y="514"/>
                      <a:pt x="0" y="549"/>
                    </a:cubicBezTo>
                    <a:cubicBezTo>
                      <a:pt x="0" y="584"/>
                      <a:pt x="29" y="613"/>
                      <a:pt x="64" y="613"/>
                    </a:cubicBezTo>
                    <a:cubicBezTo>
                      <a:pt x="99" y="613"/>
                      <a:pt x="127" y="584"/>
                      <a:pt x="127" y="549"/>
                    </a:cubicBezTo>
                    <a:cubicBezTo>
                      <a:pt x="127" y="514"/>
                      <a:pt x="99" y="485"/>
                      <a:pt x="64" y="485"/>
                    </a:cubicBezTo>
                    <a:close/>
                    <a:moveTo>
                      <a:pt x="64" y="581"/>
                    </a:moveTo>
                    <a:cubicBezTo>
                      <a:pt x="46" y="581"/>
                      <a:pt x="32" y="566"/>
                      <a:pt x="32" y="549"/>
                    </a:cubicBezTo>
                    <a:cubicBezTo>
                      <a:pt x="32" y="531"/>
                      <a:pt x="46" y="517"/>
                      <a:pt x="64" y="517"/>
                    </a:cubicBezTo>
                    <a:cubicBezTo>
                      <a:pt x="81" y="517"/>
                      <a:pt x="96" y="531"/>
                      <a:pt x="96" y="549"/>
                    </a:cubicBezTo>
                    <a:cubicBezTo>
                      <a:pt x="96" y="566"/>
                      <a:pt x="81" y="581"/>
                      <a:pt x="64" y="581"/>
                    </a:cubicBezTo>
                    <a:close/>
                    <a:moveTo>
                      <a:pt x="182" y="325"/>
                    </a:moveTo>
                    <a:cubicBezTo>
                      <a:pt x="181" y="331"/>
                      <a:pt x="181" y="337"/>
                      <a:pt x="181" y="344"/>
                    </a:cubicBezTo>
                    <a:cubicBezTo>
                      <a:pt x="181" y="351"/>
                      <a:pt x="182" y="358"/>
                      <a:pt x="182" y="365"/>
                    </a:cubicBezTo>
                    <a:cubicBezTo>
                      <a:pt x="184" y="365"/>
                      <a:pt x="187" y="364"/>
                      <a:pt x="190" y="363"/>
                    </a:cubicBezTo>
                    <a:cubicBezTo>
                      <a:pt x="190" y="362"/>
                      <a:pt x="190" y="362"/>
                      <a:pt x="190" y="362"/>
                    </a:cubicBezTo>
                    <a:cubicBezTo>
                      <a:pt x="200" y="357"/>
                      <a:pt x="203" y="344"/>
                      <a:pt x="197" y="334"/>
                    </a:cubicBezTo>
                    <a:cubicBezTo>
                      <a:pt x="194" y="329"/>
                      <a:pt x="188" y="325"/>
                      <a:pt x="182" y="325"/>
                    </a:cubicBezTo>
                    <a:close/>
                    <a:moveTo>
                      <a:pt x="684" y="344"/>
                    </a:moveTo>
                    <a:cubicBezTo>
                      <a:pt x="684" y="184"/>
                      <a:pt x="644" y="54"/>
                      <a:pt x="585" y="54"/>
                    </a:cubicBezTo>
                    <a:cubicBezTo>
                      <a:pt x="471" y="54"/>
                      <a:pt x="471" y="54"/>
                      <a:pt x="471" y="54"/>
                    </a:cubicBezTo>
                    <a:cubicBezTo>
                      <a:pt x="531" y="54"/>
                      <a:pt x="571" y="184"/>
                      <a:pt x="571" y="344"/>
                    </a:cubicBezTo>
                    <a:cubicBezTo>
                      <a:pt x="571" y="504"/>
                      <a:pt x="531" y="634"/>
                      <a:pt x="471" y="634"/>
                    </a:cubicBezTo>
                    <a:cubicBezTo>
                      <a:pt x="585" y="634"/>
                      <a:pt x="585" y="634"/>
                      <a:pt x="585" y="634"/>
                    </a:cubicBezTo>
                    <a:cubicBezTo>
                      <a:pt x="644" y="634"/>
                      <a:pt x="684" y="504"/>
                      <a:pt x="684" y="344"/>
                    </a:cubicBezTo>
                    <a:close/>
                    <a:moveTo>
                      <a:pt x="730" y="54"/>
                    </a:moveTo>
                    <a:cubicBezTo>
                      <a:pt x="619" y="54"/>
                      <a:pt x="619" y="54"/>
                      <a:pt x="619" y="54"/>
                    </a:cubicBezTo>
                    <a:cubicBezTo>
                      <a:pt x="676" y="54"/>
                      <a:pt x="716" y="184"/>
                      <a:pt x="716" y="344"/>
                    </a:cubicBezTo>
                    <a:cubicBezTo>
                      <a:pt x="716" y="504"/>
                      <a:pt x="676" y="634"/>
                      <a:pt x="619" y="634"/>
                    </a:cubicBezTo>
                    <a:cubicBezTo>
                      <a:pt x="730" y="634"/>
                      <a:pt x="730" y="634"/>
                      <a:pt x="730" y="634"/>
                    </a:cubicBezTo>
                    <a:cubicBezTo>
                      <a:pt x="787" y="634"/>
                      <a:pt x="826" y="504"/>
                      <a:pt x="826" y="344"/>
                    </a:cubicBezTo>
                    <a:cubicBezTo>
                      <a:pt x="826" y="184"/>
                      <a:pt x="787" y="54"/>
                      <a:pt x="730" y="54"/>
                    </a:cubicBezTo>
                    <a:close/>
                    <a:moveTo>
                      <a:pt x="537" y="344"/>
                    </a:moveTo>
                    <a:cubicBezTo>
                      <a:pt x="537" y="184"/>
                      <a:pt x="497" y="54"/>
                      <a:pt x="439" y="54"/>
                    </a:cubicBezTo>
                    <a:cubicBezTo>
                      <a:pt x="328" y="54"/>
                      <a:pt x="328" y="54"/>
                      <a:pt x="328" y="54"/>
                    </a:cubicBezTo>
                    <a:cubicBezTo>
                      <a:pt x="386" y="54"/>
                      <a:pt x="426" y="184"/>
                      <a:pt x="426" y="344"/>
                    </a:cubicBezTo>
                    <a:cubicBezTo>
                      <a:pt x="426" y="504"/>
                      <a:pt x="386" y="634"/>
                      <a:pt x="328" y="634"/>
                    </a:cubicBezTo>
                    <a:cubicBezTo>
                      <a:pt x="439" y="634"/>
                      <a:pt x="439" y="634"/>
                      <a:pt x="439" y="634"/>
                    </a:cubicBezTo>
                    <a:cubicBezTo>
                      <a:pt x="497" y="634"/>
                      <a:pt x="537" y="504"/>
                      <a:pt x="537" y="344"/>
                    </a:cubicBezTo>
                    <a:close/>
                    <a:moveTo>
                      <a:pt x="277" y="454"/>
                    </a:moveTo>
                    <a:cubicBezTo>
                      <a:pt x="274" y="430"/>
                      <a:pt x="274" y="430"/>
                      <a:pt x="274" y="430"/>
                    </a:cubicBezTo>
                    <a:cubicBezTo>
                      <a:pt x="286" y="416"/>
                      <a:pt x="295" y="400"/>
                      <a:pt x="300" y="383"/>
                    </a:cubicBezTo>
                    <a:cubicBezTo>
                      <a:pt x="322" y="374"/>
                      <a:pt x="322" y="374"/>
                      <a:pt x="322" y="374"/>
                    </a:cubicBezTo>
                    <a:cubicBezTo>
                      <a:pt x="326" y="354"/>
                      <a:pt x="326" y="333"/>
                      <a:pt x="321" y="314"/>
                    </a:cubicBezTo>
                    <a:cubicBezTo>
                      <a:pt x="300" y="303"/>
                      <a:pt x="300" y="303"/>
                      <a:pt x="300" y="303"/>
                    </a:cubicBezTo>
                    <a:cubicBezTo>
                      <a:pt x="297" y="297"/>
                      <a:pt x="294" y="289"/>
                      <a:pt x="290" y="281"/>
                    </a:cubicBezTo>
                    <a:cubicBezTo>
                      <a:pt x="285" y="273"/>
                      <a:pt x="280" y="266"/>
                      <a:pt x="274" y="260"/>
                    </a:cubicBezTo>
                    <a:cubicBezTo>
                      <a:pt x="277" y="236"/>
                      <a:pt x="277" y="236"/>
                      <a:pt x="277" y="236"/>
                    </a:cubicBezTo>
                    <a:cubicBezTo>
                      <a:pt x="261" y="221"/>
                      <a:pt x="243" y="210"/>
                      <a:pt x="224" y="205"/>
                    </a:cubicBezTo>
                    <a:cubicBezTo>
                      <a:pt x="204" y="219"/>
                      <a:pt x="204" y="219"/>
                      <a:pt x="204" y="219"/>
                    </a:cubicBezTo>
                    <a:cubicBezTo>
                      <a:pt x="188" y="215"/>
                      <a:pt x="173" y="216"/>
                      <a:pt x="157" y="219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28" y="208"/>
                      <a:pt x="118" y="212"/>
                      <a:pt x="109" y="217"/>
                    </a:cubicBezTo>
                    <a:cubicBezTo>
                      <a:pt x="100" y="223"/>
                      <a:pt x="92" y="228"/>
                      <a:pt x="85" y="236"/>
                    </a:cubicBezTo>
                    <a:cubicBezTo>
                      <a:pt x="88" y="260"/>
                      <a:pt x="88" y="260"/>
                      <a:pt x="88" y="260"/>
                    </a:cubicBezTo>
                    <a:cubicBezTo>
                      <a:pt x="77" y="273"/>
                      <a:pt x="68" y="287"/>
                      <a:pt x="63" y="302"/>
                    </a:cubicBezTo>
                    <a:cubicBezTo>
                      <a:pt x="42" y="312"/>
                      <a:pt x="42" y="312"/>
                      <a:pt x="42" y="312"/>
                    </a:cubicBezTo>
                    <a:cubicBezTo>
                      <a:pt x="37" y="332"/>
                      <a:pt x="37" y="352"/>
                      <a:pt x="41" y="375"/>
                    </a:cubicBezTo>
                    <a:cubicBezTo>
                      <a:pt x="63" y="383"/>
                      <a:pt x="63" y="383"/>
                      <a:pt x="63" y="383"/>
                    </a:cubicBezTo>
                    <a:cubicBezTo>
                      <a:pt x="65" y="391"/>
                      <a:pt x="68" y="400"/>
                      <a:pt x="73" y="407"/>
                    </a:cubicBezTo>
                    <a:cubicBezTo>
                      <a:pt x="77" y="415"/>
                      <a:pt x="82" y="422"/>
                      <a:pt x="87" y="428"/>
                    </a:cubicBezTo>
                    <a:cubicBezTo>
                      <a:pt x="84" y="452"/>
                      <a:pt x="84" y="452"/>
                      <a:pt x="84" y="452"/>
                    </a:cubicBezTo>
                    <a:cubicBezTo>
                      <a:pt x="100" y="466"/>
                      <a:pt x="117" y="476"/>
                      <a:pt x="135" y="483"/>
                    </a:cubicBezTo>
                    <a:cubicBezTo>
                      <a:pt x="154" y="469"/>
                      <a:pt x="154" y="469"/>
                      <a:pt x="154" y="469"/>
                    </a:cubicBezTo>
                    <a:cubicBezTo>
                      <a:pt x="172" y="473"/>
                      <a:pt x="189" y="473"/>
                      <a:pt x="207" y="470"/>
                    </a:cubicBezTo>
                    <a:cubicBezTo>
                      <a:pt x="227" y="483"/>
                      <a:pt x="227" y="483"/>
                      <a:pt x="227" y="483"/>
                    </a:cubicBezTo>
                    <a:cubicBezTo>
                      <a:pt x="235" y="480"/>
                      <a:pt x="244" y="476"/>
                      <a:pt x="253" y="472"/>
                    </a:cubicBezTo>
                    <a:cubicBezTo>
                      <a:pt x="261" y="467"/>
                      <a:pt x="269" y="460"/>
                      <a:pt x="277" y="454"/>
                    </a:cubicBezTo>
                    <a:close/>
                    <a:moveTo>
                      <a:pt x="212" y="400"/>
                    </a:moveTo>
                    <a:cubicBezTo>
                      <a:pt x="182" y="418"/>
                      <a:pt x="144" y="407"/>
                      <a:pt x="126" y="376"/>
                    </a:cubicBezTo>
                    <a:cubicBezTo>
                      <a:pt x="108" y="346"/>
                      <a:pt x="118" y="306"/>
                      <a:pt x="149" y="289"/>
                    </a:cubicBezTo>
                    <a:cubicBezTo>
                      <a:pt x="157" y="284"/>
                      <a:pt x="165" y="281"/>
                      <a:pt x="173" y="281"/>
                    </a:cubicBezTo>
                    <a:cubicBezTo>
                      <a:pt x="197" y="278"/>
                      <a:pt x="222" y="289"/>
                      <a:pt x="235" y="312"/>
                    </a:cubicBezTo>
                    <a:cubicBezTo>
                      <a:pt x="253" y="344"/>
                      <a:pt x="243" y="383"/>
                      <a:pt x="212" y="400"/>
                    </a:cubicBezTo>
                    <a:close/>
                    <a:moveTo>
                      <a:pt x="288" y="54"/>
                    </a:moveTo>
                    <a:cubicBezTo>
                      <a:pt x="273" y="54"/>
                      <a:pt x="258" y="62"/>
                      <a:pt x="245" y="78"/>
                    </a:cubicBezTo>
                    <a:cubicBezTo>
                      <a:pt x="250" y="91"/>
                      <a:pt x="253" y="104"/>
                      <a:pt x="253" y="119"/>
                    </a:cubicBezTo>
                    <a:cubicBezTo>
                      <a:pt x="253" y="135"/>
                      <a:pt x="249" y="151"/>
                      <a:pt x="243" y="165"/>
                    </a:cubicBezTo>
                    <a:cubicBezTo>
                      <a:pt x="266" y="173"/>
                      <a:pt x="289" y="187"/>
                      <a:pt x="307" y="204"/>
                    </a:cubicBezTo>
                    <a:cubicBezTo>
                      <a:pt x="322" y="219"/>
                      <a:pt x="322" y="219"/>
                      <a:pt x="322" y="219"/>
                    </a:cubicBezTo>
                    <a:cubicBezTo>
                      <a:pt x="320" y="247"/>
                      <a:pt x="320" y="247"/>
                      <a:pt x="320" y="247"/>
                    </a:cubicBezTo>
                    <a:cubicBezTo>
                      <a:pt x="323" y="251"/>
                      <a:pt x="325" y="255"/>
                      <a:pt x="328" y="260"/>
                    </a:cubicBezTo>
                    <a:cubicBezTo>
                      <a:pt x="330" y="264"/>
                      <a:pt x="332" y="268"/>
                      <a:pt x="334" y="271"/>
                    </a:cubicBezTo>
                    <a:cubicBezTo>
                      <a:pt x="360" y="284"/>
                      <a:pt x="360" y="284"/>
                      <a:pt x="360" y="284"/>
                    </a:cubicBezTo>
                    <a:cubicBezTo>
                      <a:pt x="364" y="305"/>
                      <a:pt x="364" y="305"/>
                      <a:pt x="364" y="305"/>
                    </a:cubicBezTo>
                    <a:cubicBezTo>
                      <a:pt x="370" y="329"/>
                      <a:pt x="370" y="356"/>
                      <a:pt x="365" y="382"/>
                    </a:cubicBezTo>
                    <a:cubicBezTo>
                      <a:pt x="361" y="405"/>
                      <a:pt x="361" y="405"/>
                      <a:pt x="361" y="405"/>
                    </a:cubicBezTo>
                    <a:cubicBezTo>
                      <a:pt x="334" y="417"/>
                      <a:pt x="334" y="417"/>
                      <a:pt x="334" y="417"/>
                    </a:cubicBezTo>
                    <a:cubicBezTo>
                      <a:pt x="330" y="426"/>
                      <a:pt x="326" y="434"/>
                      <a:pt x="320" y="442"/>
                    </a:cubicBezTo>
                    <a:cubicBezTo>
                      <a:pt x="324" y="473"/>
                      <a:pt x="324" y="473"/>
                      <a:pt x="324" y="473"/>
                    </a:cubicBezTo>
                    <a:cubicBezTo>
                      <a:pt x="305" y="488"/>
                      <a:pt x="305" y="488"/>
                      <a:pt x="305" y="488"/>
                    </a:cubicBezTo>
                    <a:cubicBezTo>
                      <a:pt x="297" y="495"/>
                      <a:pt x="287" y="503"/>
                      <a:pt x="275" y="510"/>
                    </a:cubicBezTo>
                    <a:cubicBezTo>
                      <a:pt x="274" y="511"/>
                      <a:pt x="274" y="511"/>
                      <a:pt x="274" y="511"/>
                    </a:cubicBezTo>
                    <a:cubicBezTo>
                      <a:pt x="272" y="511"/>
                      <a:pt x="272" y="511"/>
                      <a:pt x="272" y="511"/>
                    </a:cubicBezTo>
                    <a:cubicBezTo>
                      <a:pt x="261" y="517"/>
                      <a:pt x="250" y="522"/>
                      <a:pt x="242" y="525"/>
                    </a:cubicBezTo>
                    <a:cubicBezTo>
                      <a:pt x="235" y="528"/>
                      <a:pt x="235" y="528"/>
                      <a:pt x="235" y="528"/>
                    </a:cubicBezTo>
                    <a:cubicBezTo>
                      <a:pt x="237" y="533"/>
                      <a:pt x="237" y="538"/>
                      <a:pt x="237" y="543"/>
                    </a:cubicBezTo>
                    <a:cubicBezTo>
                      <a:pt x="237" y="600"/>
                      <a:pt x="237" y="600"/>
                      <a:pt x="237" y="600"/>
                    </a:cubicBezTo>
                    <a:cubicBezTo>
                      <a:pt x="252" y="622"/>
                      <a:pt x="269" y="634"/>
                      <a:pt x="288" y="634"/>
                    </a:cubicBezTo>
                    <a:cubicBezTo>
                      <a:pt x="346" y="634"/>
                      <a:pt x="395" y="504"/>
                      <a:pt x="395" y="344"/>
                    </a:cubicBezTo>
                    <a:cubicBezTo>
                      <a:pt x="395" y="184"/>
                      <a:pt x="346" y="54"/>
                      <a:pt x="288" y="5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232" name="Group 9231">
            <a:extLst>
              <a:ext uri="{FF2B5EF4-FFF2-40B4-BE49-F238E27FC236}">
                <a16:creationId xmlns:a16="http://schemas.microsoft.com/office/drawing/2014/main" id="{AF161E00-151A-4D77-A535-C8F5E2F40076}"/>
              </a:ext>
            </a:extLst>
          </p:cNvPr>
          <p:cNvGrpSpPr/>
          <p:nvPr/>
        </p:nvGrpSpPr>
        <p:grpSpPr>
          <a:xfrm>
            <a:off x="8254504" y="1957989"/>
            <a:ext cx="593658" cy="593658"/>
            <a:chOff x="5235137" y="3599976"/>
            <a:chExt cx="593658" cy="593658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C1631F97-1ACA-415C-A01F-464D59A0241F}"/>
                </a:ext>
              </a:extLst>
            </p:cNvPr>
            <p:cNvSpPr/>
            <p:nvPr/>
          </p:nvSpPr>
          <p:spPr>
            <a:xfrm>
              <a:off x="5235137" y="3599976"/>
              <a:ext cx="593658" cy="59365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887603C8-14A7-487C-B698-240AECFB3C4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03366" y="3668205"/>
              <a:ext cx="457200" cy="457200"/>
              <a:chOff x="7324950" y="3200401"/>
              <a:chExt cx="457200" cy="457200"/>
            </a:xfrm>
          </p:grpSpPr>
          <p:sp>
            <p:nvSpPr>
              <p:cNvPr id="110" name="AutoShape 17">
                <a:extLst>
                  <a:ext uri="{FF2B5EF4-FFF2-40B4-BE49-F238E27FC236}">
                    <a16:creationId xmlns:a16="http://schemas.microsoft.com/office/drawing/2014/main" id="{6C4900DB-4DE2-46F7-9EB1-DED286AF9E3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324950" y="3200401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9">
                <a:extLst>
                  <a:ext uri="{FF2B5EF4-FFF2-40B4-BE49-F238E27FC236}">
                    <a16:creationId xmlns:a16="http://schemas.microsoft.com/office/drawing/2014/main" id="{7D555F8C-F2A9-4A7D-AD81-5A542843A9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2467" y="3230227"/>
                <a:ext cx="402167" cy="398126"/>
              </a:xfrm>
              <a:custGeom>
                <a:avLst/>
                <a:gdLst>
                  <a:gd name="T0" fmla="*/ 879 w 879"/>
                  <a:gd name="T1" fmla="*/ 273 h 870"/>
                  <a:gd name="T2" fmla="*/ 606 w 879"/>
                  <a:gd name="T3" fmla="*/ 0 h 870"/>
                  <a:gd name="T4" fmla="*/ 333 w 879"/>
                  <a:gd name="T5" fmla="*/ 273 h 870"/>
                  <a:gd name="T6" fmla="*/ 334 w 879"/>
                  <a:gd name="T7" fmla="*/ 296 h 870"/>
                  <a:gd name="T8" fmla="*/ 312 w 879"/>
                  <a:gd name="T9" fmla="*/ 296 h 870"/>
                  <a:gd name="T10" fmla="*/ 292 w 879"/>
                  <a:gd name="T11" fmla="*/ 296 h 870"/>
                  <a:gd name="T12" fmla="*/ 253 w 879"/>
                  <a:gd name="T13" fmla="*/ 261 h 870"/>
                  <a:gd name="T14" fmla="*/ 190 w 879"/>
                  <a:gd name="T15" fmla="*/ 280 h 870"/>
                  <a:gd name="T16" fmla="*/ 131 w 879"/>
                  <a:gd name="T17" fmla="*/ 313 h 870"/>
                  <a:gd name="T18" fmla="*/ 131 w 879"/>
                  <a:gd name="T19" fmla="*/ 366 h 870"/>
                  <a:gd name="T20" fmla="*/ 70 w 879"/>
                  <a:gd name="T21" fmla="*/ 447 h 870"/>
                  <a:gd name="T22" fmla="*/ 22 w 879"/>
                  <a:gd name="T23" fmla="*/ 462 h 870"/>
                  <a:gd name="T24" fmla="*/ 3 w 879"/>
                  <a:gd name="T25" fmla="*/ 593 h 870"/>
                  <a:gd name="T26" fmla="*/ 48 w 879"/>
                  <a:gd name="T27" fmla="*/ 619 h 870"/>
                  <a:gd name="T28" fmla="*/ 66 w 879"/>
                  <a:gd name="T29" fmla="*/ 672 h 870"/>
                  <a:gd name="T30" fmla="*/ 90 w 879"/>
                  <a:gd name="T31" fmla="*/ 718 h 870"/>
                  <a:gd name="T32" fmla="*/ 78 w 879"/>
                  <a:gd name="T33" fmla="*/ 768 h 870"/>
                  <a:gd name="T34" fmla="*/ 181 w 879"/>
                  <a:gd name="T35" fmla="*/ 847 h 870"/>
                  <a:gd name="T36" fmla="*/ 225 w 879"/>
                  <a:gd name="T37" fmla="*/ 820 h 870"/>
                  <a:gd name="T38" fmla="*/ 315 w 879"/>
                  <a:gd name="T39" fmla="*/ 836 h 870"/>
                  <a:gd name="T40" fmla="*/ 336 w 879"/>
                  <a:gd name="T41" fmla="*/ 834 h 870"/>
                  <a:gd name="T42" fmla="*/ 375 w 879"/>
                  <a:gd name="T43" fmla="*/ 870 h 870"/>
                  <a:gd name="T44" fmla="*/ 435 w 879"/>
                  <a:gd name="T45" fmla="*/ 851 h 870"/>
                  <a:gd name="T46" fmla="*/ 491 w 879"/>
                  <a:gd name="T47" fmla="*/ 819 h 870"/>
                  <a:gd name="T48" fmla="*/ 491 w 879"/>
                  <a:gd name="T49" fmla="*/ 768 h 870"/>
                  <a:gd name="T50" fmla="*/ 558 w 879"/>
                  <a:gd name="T51" fmla="*/ 677 h 870"/>
                  <a:gd name="T52" fmla="*/ 606 w 879"/>
                  <a:gd name="T53" fmla="*/ 662 h 870"/>
                  <a:gd name="T54" fmla="*/ 622 w 879"/>
                  <a:gd name="T55" fmla="*/ 548 h 870"/>
                  <a:gd name="T56" fmla="*/ 622 w 879"/>
                  <a:gd name="T57" fmla="*/ 546 h 870"/>
                  <a:gd name="T58" fmla="*/ 879 w 879"/>
                  <a:gd name="T59" fmla="*/ 273 h 870"/>
                  <a:gd name="T60" fmla="*/ 367 w 879"/>
                  <a:gd name="T61" fmla="*/ 690 h 870"/>
                  <a:gd name="T62" fmla="*/ 313 w 879"/>
                  <a:gd name="T63" fmla="*/ 702 h 870"/>
                  <a:gd name="T64" fmla="*/ 189 w 879"/>
                  <a:gd name="T65" fmla="*/ 619 h 870"/>
                  <a:gd name="T66" fmla="*/ 259 w 879"/>
                  <a:gd name="T67" fmla="*/ 442 h 870"/>
                  <a:gd name="T68" fmla="*/ 311 w 879"/>
                  <a:gd name="T69" fmla="*/ 430 h 870"/>
                  <a:gd name="T70" fmla="*/ 436 w 879"/>
                  <a:gd name="T71" fmla="*/ 512 h 870"/>
                  <a:gd name="T72" fmla="*/ 367 w 879"/>
                  <a:gd name="T73" fmla="*/ 690 h 870"/>
                  <a:gd name="T74" fmla="*/ 770 w 879"/>
                  <a:gd name="T75" fmla="*/ 157 h 870"/>
                  <a:gd name="T76" fmla="*/ 636 w 879"/>
                  <a:gd name="T77" fmla="*/ 273 h 870"/>
                  <a:gd name="T78" fmla="*/ 636 w 879"/>
                  <a:gd name="T79" fmla="*/ 274 h 870"/>
                  <a:gd name="T80" fmla="*/ 606 w 879"/>
                  <a:gd name="T81" fmla="*/ 303 h 870"/>
                  <a:gd name="T82" fmla="*/ 576 w 879"/>
                  <a:gd name="T83" fmla="*/ 275 h 870"/>
                  <a:gd name="T84" fmla="*/ 484 w 879"/>
                  <a:gd name="T85" fmla="*/ 210 h 870"/>
                  <a:gd name="T86" fmla="*/ 481 w 879"/>
                  <a:gd name="T87" fmla="*/ 195 h 870"/>
                  <a:gd name="T88" fmla="*/ 496 w 879"/>
                  <a:gd name="T89" fmla="*/ 191 h 870"/>
                  <a:gd name="T90" fmla="*/ 595 w 879"/>
                  <a:gd name="T91" fmla="*/ 246 h 870"/>
                  <a:gd name="T92" fmla="*/ 606 w 879"/>
                  <a:gd name="T93" fmla="*/ 244 h 870"/>
                  <a:gd name="T94" fmla="*/ 613 w 879"/>
                  <a:gd name="T95" fmla="*/ 245 h 870"/>
                  <a:gd name="T96" fmla="*/ 756 w 879"/>
                  <a:gd name="T97" fmla="*/ 138 h 870"/>
                  <a:gd name="T98" fmla="*/ 764 w 879"/>
                  <a:gd name="T99" fmla="*/ 136 h 870"/>
                  <a:gd name="T100" fmla="*/ 772 w 879"/>
                  <a:gd name="T101" fmla="*/ 140 h 870"/>
                  <a:gd name="T102" fmla="*/ 770 w 879"/>
                  <a:gd name="T103" fmla="*/ 157 h 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79" h="870">
                    <a:moveTo>
                      <a:pt x="879" y="273"/>
                    </a:moveTo>
                    <a:cubicBezTo>
                      <a:pt x="879" y="122"/>
                      <a:pt x="757" y="0"/>
                      <a:pt x="606" y="0"/>
                    </a:cubicBezTo>
                    <a:cubicBezTo>
                      <a:pt x="455" y="0"/>
                      <a:pt x="333" y="122"/>
                      <a:pt x="333" y="273"/>
                    </a:cubicBezTo>
                    <a:cubicBezTo>
                      <a:pt x="333" y="281"/>
                      <a:pt x="333" y="289"/>
                      <a:pt x="334" y="296"/>
                    </a:cubicBezTo>
                    <a:cubicBezTo>
                      <a:pt x="326" y="296"/>
                      <a:pt x="319" y="296"/>
                      <a:pt x="312" y="296"/>
                    </a:cubicBezTo>
                    <a:cubicBezTo>
                      <a:pt x="305" y="296"/>
                      <a:pt x="299" y="296"/>
                      <a:pt x="292" y="296"/>
                    </a:cubicBezTo>
                    <a:cubicBezTo>
                      <a:pt x="253" y="261"/>
                      <a:pt x="253" y="261"/>
                      <a:pt x="253" y="261"/>
                    </a:cubicBezTo>
                    <a:cubicBezTo>
                      <a:pt x="233" y="266"/>
                      <a:pt x="211" y="271"/>
                      <a:pt x="190" y="280"/>
                    </a:cubicBezTo>
                    <a:cubicBezTo>
                      <a:pt x="169" y="290"/>
                      <a:pt x="149" y="301"/>
                      <a:pt x="131" y="313"/>
                    </a:cubicBezTo>
                    <a:cubicBezTo>
                      <a:pt x="131" y="366"/>
                      <a:pt x="131" y="366"/>
                      <a:pt x="131" y="366"/>
                    </a:cubicBezTo>
                    <a:cubicBezTo>
                      <a:pt x="106" y="389"/>
                      <a:pt x="85" y="416"/>
                      <a:pt x="70" y="447"/>
                    </a:cubicBezTo>
                    <a:cubicBezTo>
                      <a:pt x="22" y="462"/>
                      <a:pt x="22" y="462"/>
                      <a:pt x="22" y="462"/>
                    </a:cubicBezTo>
                    <a:cubicBezTo>
                      <a:pt x="6" y="503"/>
                      <a:pt x="0" y="547"/>
                      <a:pt x="3" y="593"/>
                    </a:cubicBezTo>
                    <a:cubicBezTo>
                      <a:pt x="48" y="619"/>
                      <a:pt x="48" y="619"/>
                      <a:pt x="48" y="619"/>
                    </a:cubicBezTo>
                    <a:cubicBezTo>
                      <a:pt x="52" y="636"/>
                      <a:pt x="57" y="655"/>
                      <a:pt x="66" y="672"/>
                    </a:cubicBezTo>
                    <a:cubicBezTo>
                      <a:pt x="73" y="688"/>
                      <a:pt x="80" y="704"/>
                      <a:pt x="90" y="718"/>
                    </a:cubicBezTo>
                    <a:cubicBezTo>
                      <a:pt x="78" y="768"/>
                      <a:pt x="78" y="768"/>
                      <a:pt x="78" y="768"/>
                    </a:cubicBezTo>
                    <a:cubicBezTo>
                      <a:pt x="107" y="802"/>
                      <a:pt x="142" y="828"/>
                      <a:pt x="181" y="847"/>
                    </a:cubicBezTo>
                    <a:cubicBezTo>
                      <a:pt x="225" y="820"/>
                      <a:pt x="225" y="820"/>
                      <a:pt x="225" y="820"/>
                    </a:cubicBezTo>
                    <a:cubicBezTo>
                      <a:pt x="253" y="830"/>
                      <a:pt x="283" y="836"/>
                      <a:pt x="315" y="836"/>
                    </a:cubicBezTo>
                    <a:cubicBezTo>
                      <a:pt x="322" y="836"/>
                      <a:pt x="329" y="835"/>
                      <a:pt x="336" y="834"/>
                    </a:cubicBezTo>
                    <a:cubicBezTo>
                      <a:pt x="375" y="870"/>
                      <a:pt x="375" y="870"/>
                      <a:pt x="375" y="870"/>
                    </a:cubicBezTo>
                    <a:cubicBezTo>
                      <a:pt x="394" y="866"/>
                      <a:pt x="415" y="859"/>
                      <a:pt x="435" y="851"/>
                    </a:cubicBezTo>
                    <a:cubicBezTo>
                      <a:pt x="455" y="841"/>
                      <a:pt x="473" y="831"/>
                      <a:pt x="491" y="819"/>
                    </a:cubicBezTo>
                    <a:cubicBezTo>
                      <a:pt x="491" y="768"/>
                      <a:pt x="491" y="768"/>
                      <a:pt x="491" y="768"/>
                    </a:cubicBezTo>
                    <a:cubicBezTo>
                      <a:pt x="520" y="742"/>
                      <a:pt x="542" y="711"/>
                      <a:pt x="558" y="677"/>
                    </a:cubicBezTo>
                    <a:cubicBezTo>
                      <a:pt x="606" y="662"/>
                      <a:pt x="606" y="662"/>
                      <a:pt x="606" y="662"/>
                    </a:cubicBezTo>
                    <a:cubicBezTo>
                      <a:pt x="619" y="626"/>
                      <a:pt x="624" y="587"/>
                      <a:pt x="622" y="548"/>
                    </a:cubicBezTo>
                    <a:cubicBezTo>
                      <a:pt x="622" y="547"/>
                      <a:pt x="622" y="546"/>
                      <a:pt x="622" y="546"/>
                    </a:cubicBezTo>
                    <a:cubicBezTo>
                      <a:pt x="765" y="537"/>
                      <a:pt x="879" y="419"/>
                      <a:pt x="879" y="273"/>
                    </a:cubicBezTo>
                    <a:close/>
                    <a:moveTo>
                      <a:pt x="367" y="690"/>
                    </a:moveTo>
                    <a:cubicBezTo>
                      <a:pt x="349" y="698"/>
                      <a:pt x="331" y="702"/>
                      <a:pt x="313" y="702"/>
                    </a:cubicBezTo>
                    <a:cubicBezTo>
                      <a:pt x="261" y="702"/>
                      <a:pt x="211" y="670"/>
                      <a:pt x="189" y="619"/>
                    </a:cubicBezTo>
                    <a:cubicBezTo>
                      <a:pt x="159" y="550"/>
                      <a:pt x="191" y="471"/>
                      <a:pt x="259" y="442"/>
                    </a:cubicBezTo>
                    <a:cubicBezTo>
                      <a:pt x="276" y="434"/>
                      <a:pt x="294" y="431"/>
                      <a:pt x="311" y="430"/>
                    </a:cubicBezTo>
                    <a:cubicBezTo>
                      <a:pt x="364" y="430"/>
                      <a:pt x="415" y="461"/>
                      <a:pt x="436" y="512"/>
                    </a:cubicBezTo>
                    <a:cubicBezTo>
                      <a:pt x="466" y="580"/>
                      <a:pt x="435" y="661"/>
                      <a:pt x="367" y="690"/>
                    </a:cubicBezTo>
                    <a:close/>
                    <a:moveTo>
                      <a:pt x="770" y="157"/>
                    </a:moveTo>
                    <a:cubicBezTo>
                      <a:pt x="770" y="157"/>
                      <a:pt x="770" y="157"/>
                      <a:pt x="636" y="273"/>
                    </a:cubicBezTo>
                    <a:cubicBezTo>
                      <a:pt x="636" y="273"/>
                      <a:pt x="636" y="273"/>
                      <a:pt x="636" y="274"/>
                    </a:cubicBezTo>
                    <a:cubicBezTo>
                      <a:pt x="636" y="290"/>
                      <a:pt x="622" y="303"/>
                      <a:pt x="606" y="303"/>
                    </a:cubicBezTo>
                    <a:cubicBezTo>
                      <a:pt x="590" y="303"/>
                      <a:pt x="577" y="290"/>
                      <a:pt x="576" y="275"/>
                    </a:cubicBezTo>
                    <a:cubicBezTo>
                      <a:pt x="576" y="275"/>
                      <a:pt x="576" y="275"/>
                      <a:pt x="484" y="210"/>
                    </a:cubicBezTo>
                    <a:cubicBezTo>
                      <a:pt x="478" y="208"/>
                      <a:pt x="477" y="201"/>
                      <a:pt x="481" y="195"/>
                    </a:cubicBezTo>
                    <a:cubicBezTo>
                      <a:pt x="484" y="190"/>
                      <a:pt x="490" y="188"/>
                      <a:pt x="496" y="191"/>
                    </a:cubicBezTo>
                    <a:cubicBezTo>
                      <a:pt x="496" y="191"/>
                      <a:pt x="496" y="191"/>
                      <a:pt x="595" y="246"/>
                    </a:cubicBezTo>
                    <a:cubicBezTo>
                      <a:pt x="599" y="245"/>
                      <a:pt x="602" y="244"/>
                      <a:pt x="606" y="244"/>
                    </a:cubicBezTo>
                    <a:cubicBezTo>
                      <a:pt x="608" y="244"/>
                      <a:pt x="611" y="244"/>
                      <a:pt x="613" y="245"/>
                    </a:cubicBezTo>
                    <a:cubicBezTo>
                      <a:pt x="613" y="245"/>
                      <a:pt x="603" y="254"/>
                      <a:pt x="756" y="138"/>
                    </a:cubicBezTo>
                    <a:cubicBezTo>
                      <a:pt x="758" y="137"/>
                      <a:pt x="762" y="136"/>
                      <a:pt x="764" y="136"/>
                    </a:cubicBezTo>
                    <a:cubicBezTo>
                      <a:pt x="767" y="136"/>
                      <a:pt x="770" y="138"/>
                      <a:pt x="772" y="140"/>
                    </a:cubicBezTo>
                    <a:cubicBezTo>
                      <a:pt x="776" y="145"/>
                      <a:pt x="776" y="153"/>
                      <a:pt x="770" y="15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221" name="Group 9220">
            <a:extLst>
              <a:ext uri="{FF2B5EF4-FFF2-40B4-BE49-F238E27FC236}">
                <a16:creationId xmlns:a16="http://schemas.microsoft.com/office/drawing/2014/main" id="{4148DBBD-B4B2-44EA-B3BB-463A6FA9DC50}"/>
              </a:ext>
            </a:extLst>
          </p:cNvPr>
          <p:cNvGrpSpPr/>
          <p:nvPr/>
        </p:nvGrpSpPr>
        <p:grpSpPr>
          <a:xfrm>
            <a:off x="3333730" y="2771391"/>
            <a:ext cx="593658" cy="593658"/>
            <a:chOff x="7678785" y="2345013"/>
            <a:chExt cx="593658" cy="593658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555E7E03-A948-4B33-B889-7CB13B72B3DD}"/>
                </a:ext>
              </a:extLst>
            </p:cNvPr>
            <p:cNvSpPr/>
            <p:nvPr/>
          </p:nvSpPr>
          <p:spPr>
            <a:xfrm>
              <a:off x="7678785" y="2345013"/>
              <a:ext cx="593658" cy="5936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112" name="Group 19">
              <a:extLst>
                <a:ext uri="{FF2B5EF4-FFF2-40B4-BE49-F238E27FC236}">
                  <a16:creationId xmlns:a16="http://schemas.microsoft.com/office/drawing/2014/main" id="{E7077C0E-4C67-4265-9FE1-2EC6E85BC45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47014" y="2413242"/>
              <a:ext cx="457200" cy="457200"/>
              <a:chOff x="1734" y="1081"/>
              <a:chExt cx="288" cy="288"/>
            </a:xfrm>
          </p:grpSpPr>
          <p:sp>
            <p:nvSpPr>
              <p:cNvPr id="113" name="AutoShape 18">
                <a:extLst>
                  <a:ext uri="{FF2B5EF4-FFF2-40B4-BE49-F238E27FC236}">
                    <a16:creationId xmlns:a16="http://schemas.microsoft.com/office/drawing/2014/main" id="{E26AA59B-2838-4E27-AA57-1F057793924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734" y="1081"/>
                <a:ext cx="288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20">
                <a:extLst>
                  <a:ext uri="{FF2B5EF4-FFF2-40B4-BE49-F238E27FC236}">
                    <a16:creationId xmlns:a16="http://schemas.microsoft.com/office/drawing/2014/main" id="{123267F6-D8C2-4402-AF78-B23CC30E4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64" y="1111"/>
                <a:ext cx="228" cy="228"/>
              </a:xfrm>
              <a:custGeom>
                <a:avLst/>
                <a:gdLst>
                  <a:gd name="T0" fmla="*/ 41 w 791"/>
                  <a:gd name="T1" fmla="*/ 507 h 793"/>
                  <a:gd name="T2" fmla="*/ 740 w 791"/>
                  <a:gd name="T3" fmla="*/ 0 h 793"/>
                  <a:gd name="T4" fmla="*/ 740 w 791"/>
                  <a:gd name="T5" fmla="*/ 83 h 793"/>
                  <a:gd name="T6" fmla="*/ 51 w 791"/>
                  <a:gd name="T7" fmla="*/ 378 h 793"/>
                  <a:gd name="T8" fmla="*/ 51 w 791"/>
                  <a:gd name="T9" fmla="*/ 295 h 793"/>
                  <a:gd name="T10" fmla="*/ 51 w 791"/>
                  <a:gd name="T11" fmla="*/ 138 h 793"/>
                  <a:gd name="T12" fmla="*/ 465 w 791"/>
                  <a:gd name="T13" fmla="*/ 102 h 793"/>
                  <a:gd name="T14" fmla="*/ 455 w 791"/>
                  <a:gd name="T15" fmla="*/ 92 h 793"/>
                  <a:gd name="T16" fmla="*/ 602 w 791"/>
                  <a:gd name="T17" fmla="*/ 0 h 793"/>
                  <a:gd name="T18" fmla="*/ 0 w 791"/>
                  <a:gd name="T19" fmla="*/ 742 h 793"/>
                  <a:gd name="T20" fmla="*/ 19 w 791"/>
                  <a:gd name="T21" fmla="*/ 742 h 793"/>
                  <a:gd name="T22" fmla="*/ 198 w 791"/>
                  <a:gd name="T23" fmla="*/ 92 h 793"/>
                  <a:gd name="T24" fmla="*/ 189 w 791"/>
                  <a:gd name="T25" fmla="*/ 102 h 793"/>
                  <a:gd name="T26" fmla="*/ 465 w 791"/>
                  <a:gd name="T27" fmla="*/ 240 h 793"/>
                  <a:gd name="T28" fmla="*/ 465 w 791"/>
                  <a:gd name="T29" fmla="*/ 157 h 793"/>
                  <a:gd name="T30" fmla="*/ 51 w 791"/>
                  <a:gd name="T31" fmla="*/ 553 h 793"/>
                  <a:gd name="T32" fmla="*/ 51 w 791"/>
                  <a:gd name="T33" fmla="*/ 636 h 793"/>
                  <a:gd name="T34" fmla="*/ 593 w 791"/>
                  <a:gd name="T35" fmla="*/ 148 h 793"/>
                  <a:gd name="T36" fmla="*/ 51 w 791"/>
                  <a:gd name="T37" fmla="*/ 102 h 793"/>
                  <a:gd name="T38" fmla="*/ 51 w 791"/>
                  <a:gd name="T39" fmla="*/ 19 h 793"/>
                  <a:gd name="T40" fmla="*/ 750 w 791"/>
                  <a:gd name="T41" fmla="*/ 507 h 793"/>
                  <a:gd name="T42" fmla="*/ 740 w 791"/>
                  <a:gd name="T43" fmla="*/ 691 h 793"/>
                  <a:gd name="T44" fmla="*/ 740 w 791"/>
                  <a:gd name="T45" fmla="*/ 774 h 793"/>
                  <a:gd name="T46" fmla="*/ 602 w 791"/>
                  <a:gd name="T47" fmla="*/ 415 h 793"/>
                  <a:gd name="T48" fmla="*/ 602 w 791"/>
                  <a:gd name="T49" fmla="*/ 498 h 793"/>
                  <a:gd name="T50" fmla="*/ 602 w 791"/>
                  <a:gd name="T51" fmla="*/ 276 h 793"/>
                  <a:gd name="T52" fmla="*/ 602 w 791"/>
                  <a:gd name="T53" fmla="*/ 359 h 793"/>
                  <a:gd name="T54" fmla="*/ 455 w 791"/>
                  <a:gd name="T55" fmla="*/ 424 h 793"/>
                  <a:gd name="T56" fmla="*/ 465 w 791"/>
                  <a:gd name="T57" fmla="*/ 415 h 793"/>
                  <a:gd name="T58" fmla="*/ 740 w 791"/>
                  <a:gd name="T59" fmla="*/ 276 h 793"/>
                  <a:gd name="T60" fmla="*/ 689 w 791"/>
                  <a:gd name="T61" fmla="*/ 189 h 793"/>
                  <a:gd name="T62" fmla="*/ 708 w 791"/>
                  <a:gd name="T63" fmla="*/ 189 h 793"/>
                  <a:gd name="T64" fmla="*/ 515 w 791"/>
                  <a:gd name="T65" fmla="*/ 328 h 793"/>
                  <a:gd name="T66" fmla="*/ 496 w 791"/>
                  <a:gd name="T67" fmla="*/ 328 h 793"/>
                  <a:gd name="T68" fmla="*/ 689 w 791"/>
                  <a:gd name="T69" fmla="*/ 604 h 793"/>
                  <a:gd name="T70" fmla="*/ 708 w 791"/>
                  <a:gd name="T71" fmla="*/ 604 h 793"/>
                  <a:gd name="T72" fmla="*/ 317 w 791"/>
                  <a:gd name="T73" fmla="*/ 507 h 793"/>
                  <a:gd name="T74" fmla="*/ 317 w 791"/>
                  <a:gd name="T75" fmla="*/ 424 h 793"/>
                  <a:gd name="T76" fmla="*/ 189 w 791"/>
                  <a:gd name="T77" fmla="*/ 415 h 793"/>
                  <a:gd name="T78" fmla="*/ 189 w 791"/>
                  <a:gd name="T79" fmla="*/ 498 h 793"/>
                  <a:gd name="T80" fmla="*/ 198 w 791"/>
                  <a:gd name="T81" fmla="*/ 645 h 793"/>
                  <a:gd name="T82" fmla="*/ 179 w 791"/>
                  <a:gd name="T83" fmla="*/ 784 h 793"/>
                  <a:gd name="T84" fmla="*/ 327 w 791"/>
                  <a:gd name="T85" fmla="*/ 691 h 793"/>
                  <a:gd name="T86" fmla="*/ 327 w 791"/>
                  <a:gd name="T87" fmla="*/ 774 h 793"/>
                  <a:gd name="T88" fmla="*/ 327 w 791"/>
                  <a:gd name="T89" fmla="*/ 553 h 793"/>
                  <a:gd name="T90" fmla="*/ 327 w 791"/>
                  <a:gd name="T91" fmla="*/ 636 h 793"/>
                  <a:gd name="T92" fmla="*/ 327 w 791"/>
                  <a:gd name="T93" fmla="*/ 0 h 793"/>
                  <a:gd name="T94" fmla="*/ 327 w 791"/>
                  <a:gd name="T95" fmla="*/ 83 h 793"/>
                  <a:gd name="T96" fmla="*/ 635 w 791"/>
                  <a:gd name="T97" fmla="*/ 648 h 793"/>
                  <a:gd name="T98" fmla="*/ 564 w 791"/>
                  <a:gd name="T99" fmla="*/ 571 h 793"/>
                  <a:gd name="T100" fmla="*/ 464 w 791"/>
                  <a:gd name="T101" fmla="*/ 594 h 793"/>
                  <a:gd name="T102" fmla="*/ 438 w 791"/>
                  <a:gd name="T103" fmla="*/ 713 h 793"/>
                  <a:gd name="T104" fmla="*/ 542 w 791"/>
                  <a:gd name="T105" fmla="*/ 776 h 793"/>
                  <a:gd name="T106" fmla="*/ 628 w 791"/>
                  <a:gd name="T107" fmla="*/ 714 h 793"/>
                  <a:gd name="T108" fmla="*/ 485 w 791"/>
                  <a:gd name="T109" fmla="*/ 692 h 793"/>
                  <a:gd name="T110" fmla="*/ 323 w 791"/>
                  <a:gd name="T111" fmla="*/ 342 h 793"/>
                  <a:gd name="T112" fmla="*/ 356 w 791"/>
                  <a:gd name="T113" fmla="*/ 221 h 793"/>
                  <a:gd name="T114" fmla="*/ 285 w 791"/>
                  <a:gd name="T115" fmla="*/ 144 h 793"/>
                  <a:gd name="T116" fmla="*/ 185 w 791"/>
                  <a:gd name="T117" fmla="*/ 167 h 793"/>
                  <a:gd name="T118" fmla="*/ 159 w 791"/>
                  <a:gd name="T119" fmla="*/ 285 h 793"/>
                  <a:gd name="T120" fmla="*/ 263 w 791"/>
                  <a:gd name="T121" fmla="*/ 348 h 793"/>
                  <a:gd name="T122" fmla="*/ 302 w 791"/>
                  <a:gd name="T123" fmla="*/ 223 h 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91" h="793">
                    <a:moveTo>
                      <a:pt x="60" y="507"/>
                    </a:moveTo>
                    <a:cubicBezTo>
                      <a:pt x="60" y="424"/>
                      <a:pt x="60" y="424"/>
                      <a:pt x="60" y="424"/>
                    </a:cubicBezTo>
                    <a:cubicBezTo>
                      <a:pt x="60" y="419"/>
                      <a:pt x="56" y="415"/>
                      <a:pt x="51" y="415"/>
                    </a:cubicBezTo>
                    <a:cubicBezTo>
                      <a:pt x="46" y="415"/>
                      <a:pt x="41" y="419"/>
                      <a:pt x="41" y="424"/>
                    </a:cubicBezTo>
                    <a:cubicBezTo>
                      <a:pt x="41" y="507"/>
                      <a:pt x="41" y="507"/>
                      <a:pt x="41" y="507"/>
                    </a:cubicBezTo>
                    <a:cubicBezTo>
                      <a:pt x="41" y="512"/>
                      <a:pt x="46" y="517"/>
                      <a:pt x="51" y="517"/>
                    </a:cubicBezTo>
                    <a:cubicBezTo>
                      <a:pt x="56" y="517"/>
                      <a:pt x="60" y="512"/>
                      <a:pt x="60" y="507"/>
                    </a:cubicBezTo>
                    <a:close/>
                    <a:moveTo>
                      <a:pt x="740" y="102"/>
                    </a:moveTo>
                    <a:cubicBezTo>
                      <a:pt x="768" y="102"/>
                      <a:pt x="791" y="79"/>
                      <a:pt x="791" y="51"/>
                    </a:cubicBezTo>
                    <a:cubicBezTo>
                      <a:pt x="791" y="23"/>
                      <a:pt x="768" y="0"/>
                      <a:pt x="740" y="0"/>
                    </a:cubicBezTo>
                    <a:cubicBezTo>
                      <a:pt x="712" y="0"/>
                      <a:pt x="689" y="23"/>
                      <a:pt x="689" y="51"/>
                    </a:cubicBezTo>
                    <a:cubicBezTo>
                      <a:pt x="689" y="79"/>
                      <a:pt x="712" y="102"/>
                      <a:pt x="740" y="102"/>
                    </a:cubicBezTo>
                    <a:close/>
                    <a:moveTo>
                      <a:pt x="740" y="19"/>
                    </a:moveTo>
                    <a:cubicBezTo>
                      <a:pt x="758" y="19"/>
                      <a:pt x="772" y="33"/>
                      <a:pt x="772" y="51"/>
                    </a:cubicBezTo>
                    <a:cubicBezTo>
                      <a:pt x="772" y="68"/>
                      <a:pt x="758" y="83"/>
                      <a:pt x="740" y="83"/>
                    </a:cubicBezTo>
                    <a:cubicBezTo>
                      <a:pt x="722" y="83"/>
                      <a:pt x="708" y="68"/>
                      <a:pt x="708" y="51"/>
                    </a:cubicBezTo>
                    <a:cubicBezTo>
                      <a:pt x="708" y="33"/>
                      <a:pt x="722" y="19"/>
                      <a:pt x="740" y="19"/>
                    </a:cubicBezTo>
                    <a:close/>
                    <a:moveTo>
                      <a:pt x="51" y="276"/>
                    </a:moveTo>
                    <a:cubicBezTo>
                      <a:pt x="23" y="276"/>
                      <a:pt x="0" y="299"/>
                      <a:pt x="0" y="328"/>
                    </a:cubicBezTo>
                    <a:cubicBezTo>
                      <a:pt x="0" y="356"/>
                      <a:pt x="23" y="378"/>
                      <a:pt x="51" y="378"/>
                    </a:cubicBezTo>
                    <a:cubicBezTo>
                      <a:pt x="79" y="378"/>
                      <a:pt x="102" y="356"/>
                      <a:pt x="102" y="328"/>
                    </a:cubicBezTo>
                    <a:cubicBezTo>
                      <a:pt x="102" y="299"/>
                      <a:pt x="79" y="276"/>
                      <a:pt x="51" y="276"/>
                    </a:cubicBezTo>
                    <a:close/>
                    <a:moveTo>
                      <a:pt x="51" y="359"/>
                    </a:moveTo>
                    <a:cubicBezTo>
                      <a:pt x="33" y="359"/>
                      <a:pt x="19" y="345"/>
                      <a:pt x="19" y="328"/>
                    </a:cubicBezTo>
                    <a:cubicBezTo>
                      <a:pt x="19" y="310"/>
                      <a:pt x="33" y="295"/>
                      <a:pt x="51" y="295"/>
                    </a:cubicBezTo>
                    <a:cubicBezTo>
                      <a:pt x="69" y="295"/>
                      <a:pt x="83" y="310"/>
                      <a:pt x="83" y="328"/>
                    </a:cubicBezTo>
                    <a:cubicBezTo>
                      <a:pt x="83" y="345"/>
                      <a:pt x="69" y="359"/>
                      <a:pt x="51" y="359"/>
                    </a:cubicBezTo>
                    <a:close/>
                    <a:moveTo>
                      <a:pt x="60" y="231"/>
                    </a:moveTo>
                    <a:cubicBezTo>
                      <a:pt x="60" y="148"/>
                      <a:pt x="60" y="148"/>
                      <a:pt x="60" y="148"/>
                    </a:cubicBezTo>
                    <a:cubicBezTo>
                      <a:pt x="60" y="142"/>
                      <a:pt x="56" y="138"/>
                      <a:pt x="51" y="138"/>
                    </a:cubicBezTo>
                    <a:cubicBezTo>
                      <a:pt x="46" y="138"/>
                      <a:pt x="41" y="142"/>
                      <a:pt x="41" y="148"/>
                    </a:cubicBezTo>
                    <a:cubicBezTo>
                      <a:pt x="41" y="231"/>
                      <a:pt x="41" y="231"/>
                      <a:pt x="41" y="231"/>
                    </a:cubicBezTo>
                    <a:cubicBezTo>
                      <a:pt x="41" y="236"/>
                      <a:pt x="46" y="240"/>
                      <a:pt x="51" y="240"/>
                    </a:cubicBezTo>
                    <a:cubicBezTo>
                      <a:pt x="56" y="240"/>
                      <a:pt x="60" y="236"/>
                      <a:pt x="60" y="231"/>
                    </a:cubicBezTo>
                    <a:close/>
                    <a:moveTo>
                      <a:pt x="465" y="102"/>
                    </a:moveTo>
                    <a:cubicBezTo>
                      <a:pt x="470" y="102"/>
                      <a:pt x="474" y="97"/>
                      <a:pt x="474" y="92"/>
                    </a:cubicBezTo>
                    <a:cubicBezTo>
                      <a:pt x="474" y="9"/>
                      <a:pt x="474" y="9"/>
                      <a:pt x="474" y="9"/>
                    </a:cubicBezTo>
                    <a:cubicBezTo>
                      <a:pt x="474" y="4"/>
                      <a:pt x="470" y="0"/>
                      <a:pt x="465" y="0"/>
                    </a:cubicBezTo>
                    <a:cubicBezTo>
                      <a:pt x="459" y="0"/>
                      <a:pt x="455" y="4"/>
                      <a:pt x="455" y="9"/>
                    </a:cubicBezTo>
                    <a:cubicBezTo>
                      <a:pt x="455" y="92"/>
                      <a:pt x="455" y="92"/>
                      <a:pt x="455" y="92"/>
                    </a:cubicBezTo>
                    <a:cubicBezTo>
                      <a:pt x="455" y="97"/>
                      <a:pt x="459" y="102"/>
                      <a:pt x="465" y="102"/>
                    </a:cubicBezTo>
                    <a:close/>
                    <a:moveTo>
                      <a:pt x="602" y="102"/>
                    </a:moveTo>
                    <a:cubicBezTo>
                      <a:pt x="607" y="102"/>
                      <a:pt x="612" y="97"/>
                      <a:pt x="612" y="92"/>
                    </a:cubicBezTo>
                    <a:cubicBezTo>
                      <a:pt x="612" y="9"/>
                      <a:pt x="612" y="9"/>
                      <a:pt x="612" y="9"/>
                    </a:cubicBezTo>
                    <a:cubicBezTo>
                      <a:pt x="612" y="4"/>
                      <a:pt x="607" y="0"/>
                      <a:pt x="602" y="0"/>
                    </a:cubicBezTo>
                    <a:cubicBezTo>
                      <a:pt x="597" y="0"/>
                      <a:pt x="593" y="4"/>
                      <a:pt x="593" y="9"/>
                    </a:cubicBezTo>
                    <a:cubicBezTo>
                      <a:pt x="593" y="92"/>
                      <a:pt x="593" y="92"/>
                      <a:pt x="593" y="92"/>
                    </a:cubicBezTo>
                    <a:cubicBezTo>
                      <a:pt x="593" y="97"/>
                      <a:pt x="597" y="102"/>
                      <a:pt x="602" y="102"/>
                    </a:cubicBezTo>
                    <a:close/>
                    <a:moveTo>
                      <a:pt x="51" y="691"/>
                    </a:moveTo>
                    <a:cubicBezTo>
                      <a:pt x="23" y="691"/>
                      <a:pt x="0" y="714"/>
                      <a:pt x="0" y="742"/>
                    </a:cubicBezTo>
                    <a:cubicBezTo>
                      <a:pt x="0" y="770"/>
                      <a:pt x="23" y="793"/>
                      <a:pt x="51" y="793"/>
                    </a:cubicBezTo>
                    <a:cubicBezTo>
                      <a:pt x="79" y="793"/>
                      <a:pt x="102" y="770"/>
                      <a:pt x="102" y="742"/>
                    </a:cubicBezTo>
                    <a:cubicBezTo>
                      <a:pt x="102" y="714"/>
                      <a:pt x="79" y="691"/>
                      <a:pt x="51" y="691"/>
                    </a:cubicBezTo>
                    <a:close/>
                    <a:moveTo>
                      <a:pt x="51" y="774"/>
                    </a:moveTo>
                    <a:cubicBezTo>
                      <a:pt x="33" y="774"/>
                      <a:pt x="19" y="760"/>
                      <a:pt x="19" y="742"/>
                    </a:cubicBezTo>
                    <a:cubicBezTo>
                      <a:pt x="19" y="725"/>
                      <a:pt x="33" y="710"/>
                      <a:pt x="51" y="710"/>
                    </a:cubicBezTo>
                    <a:cubicBezTo>
                      <a:pt x="69" y="710"/>
                      <a:pt x="83" y="725"/>
                      <a:pt x="83" y="742"/>
                    </a:cubicBezTo>
                    <a:cubicBezTo>
                      <a:pt x="83" y="760"/>
                      <a:pt x="69" y="774"/>
                      <a:pt x="51" y="774"/>
                    </a:cubicBezTo>
                    <a:close/>
                    <a:moveTo>
                      <a:pt x="189" y="102"/>
                    </a:moveTo>
                    <a:cubicBezTo>
                      <a:pt x="194" y="102"/>
                      <a:pt x="198" y="97"/>
                      <a:pt x="198" y="92"/>
                    </a:cubicBezTo>
                    <a:cubicBezTo>
                      <a:pt x="198" y="9"/>
                      <a:pt x="198" y="9"/>
                      <a:pt x="198" y="9"/>
                    </a:cubicBezTo>
                    <a:cubicBezTo>
                      <a:pt x="198" y="4"/>
                      <a:pt x="194" y="0"/>
                      <a:pt x="189" y="0"/>
                    </a:cubicBezTo>
                    <a:cubicBezTo>
                      <a:pt x="184" y="0"/>
                      <a:pt x="179" y="4"/>
                      <a:pt x="179" y="9"/>
                    </a:cubicBezTo>
                    <a:cubicBezTo>
                      <a:pt x="179" y="92"/>
                      <a:pt x="179" y="92"/>
                      <a:pt x="179" y="92"/>
                    </a:cubicBezTo>
                    <a:cubicBezTo>
                      <a:pt x="179" y="97"/>
                      <a:pt x="184" y="102"/>
                      <a:pt x="189" y="102"/>
                    </a:cubicBezTo>
                    <a:close/>
                    <a:moveTo>
                      <a:pt x="465" y="240"/>
                    </a:moveTo>
                    <a:cubicBezTo>
                      <a:pt x="493" y="240"/>
                      <a:pt x="515" y="217"/>
                      <a:pt x="515" y="189"/>
                    </a:cubicBezTo>
                    <a:cubicBezTo>
                      <a:pt x="515" y="161"/>
                      <a:pt x="493" y="138"/>
                      <a:pt x="465" y="138"/>
                    </a:cubicBezTo>
                    <a:cubicBezTo>
                      <a:pt x="436" y="138"/>
                      <a:pt x="413" y="161"/>
                      <a:pt x="413" y="189"/>
                    </a:cubicBezTo>
                    <a:cubicBezTo>
                      <a:pt x="413" y="217"/>
                      <a:pt x="436" y="240"/>
                      <a:pt x="465" y="240"/>
                    </a:cubicBezTo>
                    <a:close/>
                    <a:moveTo>
                      <a:pt x="465" y="157"/>
                    </a:moveTo>
                    <a:cubicBezTo>
                      <a:pt x="482" y="157"/>
                      <a:pt x="496" y="172"/>
                      <a:pt x="496" y="189"/>
                    </a:cubicBezTo>
                    <a:cubicBezTo>
                      <a:pt x="496" y="207"/>
                      <a:pt x="482" y="221"/>
                      <a:pt x="465" y="221"/>
                    </a:cubicBezTo>
                    <a:cubicBezTo>
                      <a:pt x="447" y="221"/>
                      <a:pt x="432" y="207"/>
                      <a:pt x="432" y="189"/>
                    </a:cubicBezTo>
                    <a:cubicBezTo>
                      <a:pt x="432" y="172"/>
                      <a:pt x="447" y="157"/>
                      <a:pt x="465" y="157"/>
                    </a:cubicBezTo>
                    <a:close/>
                    <a:moveTo>
                      <a:pt x="51" y="553"/>
                    </a:moveTo>
                    <a:cubicBezTo>
                      <a:pt x="23" y="553"/>
                      <a:pt x="0" y="576"/>
                      <a:pt x="0" y="604"/>
                    </a:cubicBezTo>
                    <a:cubicBezTo>
                      <a:pt x="0" y="632"/>
                      <a:pt x="23" y="655"/>
                      <a:pt x="51" y="655"/>
                    </a:cubicBezTo>
                    <a:cubicBezTo>
                      <a:pt x="79" y="655"/>
                      <a:pt x="102" y="632"/>
                      <a:pt x="102" y="604"/>
                    </a:cubicBezTo>
                    <a:cubicBezTo>
                      <a:pt x="102" y="576"/>
                      <a:pt x="79" y="553"/>
                      <a:pt x="51" y="553"/>
                    </a:cubicBezTo>
                    <a:close/>
                    <a:moveTo>
                      <a:pt x="51" y="636"/>
                    </a:moveTo>
                    <a:cubicBezTo>
                      <a:pt x="33" y="636"/>
                      <a:pt x="19" y="621"/>
                      <a:pt x="19" y="604"/>
                    </a:cubicBezTo>
                    <a:cubicBezTo>
                      <a:pt x="19" y="586"/>
                      <a:pt x="33" y="572"/>
                      <a:pt x="51" y="572"/>
                    </a:cubicBezTo>
                    <a:cubicBezTo>
                      <a:pt x="69" y="572"/>
                      <a:pt x="83" y="586"/>
                      <a:pt x="83" y="604"/>
                    </a:cubicBezTo>
                    <a:cubicBezTo>
                      <a:pt x="83" y="621"/>
                      <a:pt x="69" y="636"/>
                      <a:pt x="51" y="636"/>
                    </a:cubicBezTo>
                    <a:close/>
                    <a:moveTo>
                      <a:pt x="602" y="240"/>
                    </a:moveTo>
                    <a:cubicBezTo>
                      <a:pt x="607" y="240"/>
                      <a:pt x="612" y="236"/>
                      <a:pt x="612" y="231"/>
                    </a:cubicBezTo>
                    <a:cubicBezTo>
                      <a:pt x="612" y="148"/>
                      <a:pt x="612" y="148"/>
                      <a:pt x="612" y="148"/>
                    </a:cubicBezTo>
                    <a:cubicBezTo>
                      <a:pt x="612" y="142"/>
                      <a:pt x="607" y="138"/>
                      <a:pt x="602" y="138"/>
                    </a:cubicBezTo>
                    <a:cubicBezTo>
                      <a:pt x="597" y="138"/>
                      <a:pt x="593" y="142"/>
                      <a:pt x="593" y="148"/>
                    </a:cubicBezTo>
                    <a:cubicBezTo>
                      <a:pt x="593" y="231"/>
                      <a:pt x="593" y="231"/>
                      <a:pt x="593" y="231"/>
                    </a:cubicBezTo>
                    <a:cubicBezTo>
                      <a:pt x="593" y="236"/>
                      <a:pt x="597" y="240"/>
                      <a:pt x="602" y="240"/>
                    </a:cubicBezTo>
                    <a:close/>
                    <a:moveTo>
                      <a:pt x="51" y="0"/>
                    </a:moveTo>
                    <a:cubicBezTo>
                      <a:pt x="23" y="0"/>
                      <a:pt x="0" y="23"/>
                      <a:pt x="0" y="51"/>
                    </a:cubicBezTo>
                    <a:cubicBezTo>
                      <a:pt x="0" y="79"/>
                      <a:pt x="23" y="102"/>
                      <a:pt x="51" y="102"/>
                    </a:cubicBezTo>
                    <a:cubicBezTo>
                      <a:pt x="79" y="102"/>
                      <a:pt x="102" y="79"/>
                      <a:pt x="102" y="51"/>
                    </a:cubicBezTo>
                    <a:cubicBezTo>
                      <a:pt x="102" y="23"/>
                      <a:pt x="79" y="0"/>
                      <a:pt x="51" y="0"/>
                    </a:cubicBezTo>
                    <a:close/>
                    <a:moveTo>
                      <a:pt x="51" y="83"/>
                    </a:moveTo>
                    <a:cubicBezTo>
                      <a:pt x="33" y="83"/>
                      <a:pt x="19" y="68"/>
                      <a:pt x="19" y="51"/>
                    </a:cubicBezTo>
                    <a:cubicBezTo>
                      <a:pt x="19" y="33"/>
                      <a:pt x="33" y="19"/>
                      <a:pt x="51" y="19"/>
                    </a:cubicBezTo>
                    <a:cubicBezTo>
                      <a:pt x="69" y="19"/>
                      <a:pt x="83" y="33"/>
                      <a:pt x="83" y="51"/>
                    </a:cubicBezTo>
                    <a:cubicBezTo>
                      <a:pt x="83" y="68"/>
                      <a:pt x="69" y="83"/>
                      <a:pt x="51" y="83"/>
                    </a:cubicBezTo>
                    <a:close/>
                    <a:moveTo>
                      <a:pt x="731" y="507"/>
                    </a:moveTo>
                    <a:cubicBezTo>
                      <a:pt x="731" y="512"/>
                      <a:pt x="735" y="517"/>
                      <a:pt x="740" y="517"/>
                    </a:cubicBezTo>
                    <a:cubicBezTo>
                      <a:pt x="745" y="517"/>
                      <a:pt x="750" y="512"/>
                      <a:pt x="750" y="507"/>
                    </a:cubicBezTo>
                    <a:cubicBezTo>
                      <a:pt x="750" y="424"/>
                      <a:pt x="750" y="424"/>
                      <a:pt x="750" y="424"/>
                    </a:cubicBezTo>
                    <a:cubicBezTo>
                      <a:pt x="750" y="419"/>
                      <a:pt x="745" y="415"/>
                      <a:pt x="740" y="415"/>
                    </a:cubicBezTo>
                    <a:cubicBezTo>
                      <a:pt x="735" y="415"/>
                      <a:pt x="731" y="419"/>
                      <a:pt x="731" y="424"/>
                    </a:cubicBezTo>
                    <a:cubicBezTo>
                      <a:pt x="731" y="507"/>
                      <a:pt x="731" y="507"/>
                      <a:pt x="731" y="507"/>
                    </a:cubicBezTo>
                    <a:close/>
                    <a:moveTo>
                      <a:pt x="740" y="691"/>
                    </a:moveTo>
                    <a:cubicBezTo>
                      <a:pt x="712" y="691"/>
                      <a:pt x="689" y="714"/>
                      <a:pt x="689" y="742"/>
                    </a:cubicBezTo>
                    <a:cubicBezTo>
                      <a:pt x="689" y="770"/>
                      <a:pt x="712" y="793"/>
                      <a:pt x="740" y="793"/>
                    </a:cubicBezTo>
                    <a:cubicBezTo>
                      <a:pt x="768" y="793"/>
                      <a:pt x="791" y="770"/>
                      <a:pt x="791" y="742"/>
                    </a:cubicBezTo>
                    <a:cubicBezTo>
                      <a:pt x="791" y="714"/>
                      <a:pt x="768" y="691"/>
                      <a:pt x="740" y="691"/>
                    </a:cubicBezTo>
                    <a:close/>
                    <a:moveTo>
                      <a:pt x="740" y="774"/>
                    </a:moveTo>
                    <a:cubicBezTo>
                      <a:pt x="722" y="774"/>
                      <a:pt x="708" y="760"/>
                      <a:pt x="708" y="742"/>
                    </a:cubicBezTo>
                    <a:cubicBezTo>
                      <a:pt x="708" y="725"/>
                      <a:pt x="722" y="710"/>
                      <a:pt x="740" y="710"/>
                    </a:cubicBezTo>
                    <a:cubicBezTo>
                      <a:pt x="758" y="710"/>
                      <a:pt x="772" y="725"/>
                      <a:pt x="772" y="742"/>
                    </a:cubicBezTo>
                    <a:cubicBezTo>
                      <a:pt x="772" y="760"/>
                      <a:pt x="758" y="774"/>
                      <a:pt x="740" y="774"/>
                    </a:cubicBezTo>
                    <a:close/>
                    <a:moveTo>
                      <a:pt x="602" y="415"/>
                    </a:moveTo>
                    <a:cubicBezTo>
                      <a:pt x="574" y="415"/>
                      <a:pt x="551" y="437"/>
                      <a:pt x="551" y="466"/>
                    </a:cubicBezTo>
                    <a:cubicBezTo>
                      <a:pt x="551" y="494"/>
                      <a:pt x="574" y="517"/>
                      <a:pt x="602" y="517"/>
                    </a:cubicBezTo>
                    <a:cubicBezTo>
                      <a:pt x="630" y="517"/>
                      <a:pt x="653" y="494"/>
                      <a:pt x="653" y="466"/>
                    </a:cubicBezTo>
                    <a:cubicBezTo>
                      <a:pt x="653" y="437"/>
                      <a:pt x="630" y="415"/>
                      <a:pt x="602" y="415"/>
                    </a:cubicBezTo>
                    <a:close/>
                    <a:moveTo>
                      <a:pt x="602" y="498"/>
                    </a:moveTo>
                    <a:cubicBezTo>
                      <a:pt x="585" y="498"/>
                      <a:pt x="570" y="483"/>
                      <a:pt x="570" y="466"/>
                    </a:cubicBezTo>
                    <a:cubicBezTo>
                      <a:pt x="570" y="448"/>
                      <a:pt x="585" y="434"/>
                      <a:pt x="602" y="434"/>
                    </a:cubicBezTo>
                    <a:cubicBezTo>
                      <a:pt x="620" y="434"/>
                      <a:pt x="634" y="448"/>
                      <a:pt x="634" y="466"/>
                    </a:cubicBezTo>
                    <a:cubicBezTo>
                      <a:pt x="634" y="483"/>
                      <a:pt x="620" y="498"/>
                      <a:pt x="602" y="498"/>
                    </a:cubicBezTo>
                    <a:close/>
                    <a:moveTo>
                      <a:pt x="602" y="276"/>
                    </a:moveTo>
                    <a:cubicBezTo>
                      <a:pt x="574" y="276"/>
                      <a:pt x="551" y="299"/>
                      <a:pt x="551" y="328"/>
                    </a:cubicBezTo>
                    <a:cubicBezTo>
                      <a:pt x="551" y="356"/>
                      <a:pt x="574" y="378"/>
                      <a:pt x="602" y="378"/>
                    </a:cubicBezTo>
                    <a:cubicBezTo>
                      <a:pt x="630" y="378"/>
                      <a:pt x="653" y="356"/>
                      <a:pt x="653" y="328"/>
                    </a:cubicBezTo>
                    <a:cubicBezTo>
                      <a:pt x="653" y="299"/>
                      <a:pt x="630" y="276"/>
                      <a:pt x="602" y="276"/>
                    </a:cubicBezTo>
                    <a:close/>
                    <a:moveTo>
                      <a:pt x="602" y="359"/>
                    </a:moveTo>
                    <a:cubicBezTo>
                      <a:pt x="585" y="359"/>
                      <a:pt x="570" y="345"/>
                      <a:pt x="570" y="328"/>
                    </a:cubicBezTo>
                    <a:cubicBezTo>
                      <a:pt x="570" y="310"/>
                      <a:pt x="585" y="295"/>
                      <a:pt x="602" y="295"/>
                    </a:cubicBezTo>
                    <a:cubicBezTo>
                      <a:pt x="620" y="295"/>
                      <a:pt x="634" y="310"/>
                      <a:pt x="634" y="328"/>
                    </a:cubicBezTo>
                    <a:cubicBezTo>
                      <a:pt x="634" y="345"/>
                      <a:pt x="620" y="359"/>
                      <a:pt x="602" y="359"/>
                    </a:cubicBezTo>
                    <a:close/>
                    <a:moveTo>
                      <a:pt x="455" y="424"/>
                    </a:moveTo>
                    <a:cubicBezTo>
                      <a:pt x="455" y="507"/>
                      <a:pt x="455" y="507"/>
                      <a:pt x="455" y="507"/>
                    </a:cubicBezTo>
                    <a:cubicBezTo>
                      <a:pt x="455" y="512"/>
                      <a:pt x="459" y="517"/>
                      <a:pt x="465" y="517"/>
                    </a:cubicBezTo>
                    <a:cubicBezTo>
                      <a:pt x="470" y="517"/>
                      <a:pt x="474" y="512"/>
                      <a:pt x="474" y="507"/>
                    </a:cubicBezTo>
                    <a:cubicBezTo>
                      <a:pt x="474" y="424"/>
                      <a:pt x="474" y="424"/>
                      <a:pt x="474" y="424"/>
                    </a:cubicBezTo>
                    <a:cubicBezTo>
                      <a:pt x="474" y="419"/>
                      <a:pt x="470" y="415"/>
                      <a:pt x="465" y="415"/>
                    </a:cubicBezTo>
                    <a:cubicBezTo>
                      <a:pt x="459" y="415"/>
                      <a:pt x="455" y="419"/>
                      <a:pt x="455" y="424"/>
                    </a:cubicBezTo>
                    <a:close/>
                    <a:moveTo>
                      <a:pt x="740" y="378"/>
                    </a:moveTo>
                    <a:cubicBezTo>
                      <a:pt x="745" y="378"/>
                      <a:pt x="750" y="374"/>
                      <a:pt x="750" y="369"/>
                    </a:cubicBezTo>
                    <a:cubicBezTo>
                      <a:pt x="750" y="286"/>
                      <a:pt x="750" y="286"/>
                      <a:pt x="750" y="286"/>
                    </a:cubicBezTo>
                    <a:cubicBezTo>
                      <a:pt x="750" y="281"/>
                      <a:pt x="745" y="276"/>
                      <a:pt x="740" y="276"/>
                    </a:cubicBezTo>
                    <a:cubicBezTo>
                      <a:pt x="735" y="276"/>
                      <a:pt x="731" y="281"/>
                      <a:pt x="731" y="286"/>
                    </a:cubicBezTo>
                    <a:cubicBezTo>
                      <a:pt x="731" y="369"/>
                      <a:pt x="731" y="369"/>
                      <a:pt x="731" y="369"/>
                    </a:cubicBezTo>
                    <a:cubicBezTo>
                      <a:pt x="731" y="374"/>
                      <a:pt x="735" y="378"/>
                      <a:pt x="740" y="378"/>
                    </a:cubicBezTo>
                    <a:close/>
                    <a:moveTo>
                      <a:pt x="740" y="138"/>
                    </a:moveTo>
                    <a:cubicBezTo>
                      <a:pt x="712" y="138"/>
                      <a:pt x="689" y="161"/>
                      <a:pt x="689" y="189"/>
                    </a:cubicBezTo>
                    <a:cubicBezTo>
                      <a:pt x="689" y="217"/>
                      <a:pt x="712" y="240"/>
                      <a:pt x="740" y="240"/>
                    </a:cubicBezTo>
                    <a:cubicBezTo>
                      <a:pt x="768" y="240"/>
                      <a:pt x="791" y="217"/>
                      <a:pt x="791" y="189"/>
                    </a:cubicBezTo>
                    <a:cubicBezTo>
                      <a:pt x="791" y="161"/>
                      <a:pt x="768" y="138"/>
                      <a:pt x="740" y="138"/>
                    </a:cubicBezTo>
                    <a:close/>
                    <a:moveTo>
                      <a:pt x="740" y="221"/>
                    </a:moveTo>
                    <a:cubicBezTo>
                      <a:pt x="722" y="221"/>
                      <a:pt x="708" y="207"/>
                      <a:pt x="708" y="189"/>
                    </a:cubicBezTo>
                    <a:cubicBezTo>
                      <a:pt x="708" y="172"/>
                      <a:pt x="722" y="157"/>
                      <a:pt x="740" y="157"/>
                    </a:cubicBezTo>
                    <a:cubicBezTo>
                      <a:pt x="758" y="157"/>
                      <a:pt x="772" y="172"/>
                      <a:pt x="772" y="189"/>
                    </a:cubicBezTo>
                    <a:cubicBezTo>
                      <a:pt x="772" y="207"/>
                      <a:pt x="758" y="221"/>
                      <a:pt x="740" y="221"/>
                    </a:cubicBezTo>
                    <a:close/>
                    <a:moveTo>
                      <a:pt x="465" y="378"/>
                    </a:moveTo>
                    <a:cubicBezTo>
                      <a:pt x="493" y="378"/>
                      <a:pt x="515" y="356"/>
                      <a:pt x="515" y="328"/>
                    </a:cubicBezTo>
                    <a:cubicBezTo>
                      <a:pt x="515" y="299"/>
                      <a:pt x="493" y="276"/>
                      <a:pt x="465" y="276"/>
                    </a:cubicBezTo>
                    <a:cubicBezTo>
                      <a:pt x="436" y="276"/>
                      <a:pt x="413" y="299"/>
                      <a:pt x="413" y="328"/>
                    </a:cubicBezTo>
                    <a:cubicBezTo>
                      <a:pt x="413" y="356"/>
                      <a:pt x="436" y="378"/>
                      <a:pt x="465" y="378"/>
                    </a:cubicBezTo>
                    <a:close/>
                    <a:moveTo>
                      <a:pt x="465" y="295"/>
                    </a:moveTo>
                    <a:cubicBezTo>
                      <a:pt x="482" y="295"/>
                      <a:pt x="496" y="310"/>
                      <a:pt x="496" y="328"/>
                    </a:cubicBezTo>
                    <a:cubicBezTo>
                      <a:pt x="496" y="345"/>
                      <a:pt x="482" y="359"/>
                      <a:pt x="465" y="359"/>
                    </a:cubicBezTo>
                    <a:cubicBezTo>
                      <a:pt x="447" y="359"/>
                      <a:pt x="432" y="345"/>
                      <a:pt x="432" y="328"/>
                    </a:cubicBezTo>
                    <a:cubicBezTo>
                      <a:pt x="432" y="310"/>
                      <a:pt x="447" y="295"/>
                      <a:pt x="465" y="295"/>
                    </a:cubicBezTo>
                    <a:close/>
                    <a:moveTo>
                      <a:pt x="740" y="553"/>
                    </a:moveTo>
                    <a:cubicBezTo>
                      <a:pt x="712" y="553"/>
                      <a:pt x="689" y="576"/>
                      <a:pt x="689" y="604"/>
                    </a:cubicBezTo>
                    <a:cubicBezTo>
                      <a:pt x="689" y="632"/>
                      <a:pt x="712" y="655"/>
                      <a:pt x="740" y="655"/>
                    </a:cubicBezTo>
                    <a:cubicBezTo>
                      <a:pt x="768" y="655"/>
                      <a:pt x="791" y="632"/>
                      <a:pt x="791" y="604"/>
                    </a:cubicBezTo>
                    <a:cubicBezTo>
                      <a:pt x="791" y="576"/>
                      <a:pt x="768" y="553"/>
                      <a:pt x="740" y="553"/>
                    </a:cubicBezTo>
                    <a:close/>
                    <a:moveTo>
                      <a:pt x="740" y="636"/>
                    </a:moveTo>
                    <a:cubicBezTo>
                      <a:pt x="722" y="636"/>
                      <a:pt x="708" y="621"/>
                      <a:pt x="708" y="604"/>
                    </a:cubicBezTo>
                    <a:cubicBezTo>
                      <a:pt x="708" y="586"/>
                      <a:pt x="722" y="572"/>
                      <a:pt x="740" y="572"/>
                    </a:cubicBezTo>
                    <a:cubicBezTo>
                      <a:pt x="758" y="572"/>
                      <a:pt x="772" y="586"/>
                      <a:pt x="772" y="604"/>
                    </a:cubicBezTo>
                    <a:cubicBezTo>
                      <a:pt x="772" y="621"/>
                      <a:pt x="758" y="636"/>
                      <a:pt x="740" y="636"/>
                    </a:cubicBezTo>
                    <a:close/>
                    <a:moveTo>
                      <a:pt x="317" y="424"/>
                    </a:moveTo>
                    <a:cubicBezTo>
                      <a:pt x="317" y="507"/>
                      <a:pt x="317" y="507"/>
                      <a:pt x="317" y="507"/>
                    </a:cubicBezTo>
                    <a:cubicBezTo>
                      <a:pt x="317" y="512"/>
                      <a:pt x="321" y="517"/>
                      <a:pt x="327" y="517"/>
                    </a:cubicBezTo>
                    <a:cubicBezTo>
                      <a:pt x="332" y="517"/>
                      <a:pt x="336" y="512"/>
                      <a:pt x="336" y="507"/>
                    </a:cubicBezTo>
                    <a:cubicBezTo>
                      <a:pt x="336" y="424"/>
                      <a:pt x="336" y="424"/>
                      <a:pt x="336" y="424"/>
                    </a:cubicBezTo>
                    <a:cubicBezTo>
                      <a:pt x="336" y="419"/>
                      <a:pt x="332" y="415"/>
                      <a:pt x="327" y="415"/>
                    </a:cubicBezTo>
                    <a:cubicBezTo>
                      <a:pt x="321" y="415"/>
                      <a:pt x="317" y="419"/>
                      <a:pt x="317" y="424"/>
                    </a:cubicBezTo>
                    <a:close/>
                    <a:moveTo>
                      <a:pt x="189" y="415"/>
                    </a:moveTo>
                    <a:cubicBezTo>
                      <a:pt x="161" y="415"/>
                      <a:pt x="138" y="437"/>
                      <a:pt x="138" y="466"/>
                    </a:cubicBezTo>
                    <a:cubicBezTo>
                      <a:pt x="138" y="494"/>
                      <a:pt x="161" y="517"/>
                      <a:pt x="189" y="517"/>
                    </a:cubicBezTo>
                    <a:cubicBezTo>
                      <a:pt x="217" y="517"/>
                      <a:pt x="240" y="494"/>
                      <a:pt x="240" y="466"/>
                    </a:cubicBezTo>
                    <a:cubicBezTo>
                      <a:pt x="240" y="437"/>
                      <a:pt x="217" y="415"/>
                      <a:pt x="189" y="415"/>
                    </a:cubicBezTo>
                    <a:close/>
                    <a:moveTo>
                      <a:pt x="189" y="498"/>
                    </a:moveTo>
                    <a:cubicBezTo>
                      <a:pt x="171" y="498"/>
                      <a:pt x="157" y="483"/>
                      <a:pt x="157" y="466"/>
                    </a:cubicBezTo>
                    <a:cubicBezTo>
                      <a:pt x="157" y="448"/>
                      <a:pt x="171" y="434"/>
                      <a:pt x="189" y="434"/>
                    </a:cubicBezTo>
                    <a:cubicBezTo>
                      <a:pt x="206" y="434"/>
                      <a:pt x="221" y="448"/>
                      <a:pt x="221" y="466"/>
                    </a:cubicBezTo>
                    <a:cubicBezTo>
                      <a:pt x="221" y="483"/>
                      <a:pt x="206" y="498"/>
                      <a:pt x="189" y="498"/>
                    </a:cubicBezTo>
                    <a:close/>
                    <a:moveTo>
                      <a:pt x="189" y="553"/>
                    </a:moveTo>
                    <a:cubicBezTo>
                      <a:pt x="184" y="553"/>
                      <a:pt x="179" y="557"/>
                      <a:pt x="179" y="562"/>
                    </a:cubicBezTo>
                    <a:cubicBezTo>
                      <a:pt x="179" y="645"/>
                      <a:pt x="179" y="645"/>
                      <a:pt x="179" y="645"/>
                    </a:cubicBezTo>
                    <a:cubicBezTo>
                      <a:pt x="179" y="651"/>
                      <a:pt x="184" y="655"/>
                      <a:pt x="189" y="655"/>
                    </a:cubicBezTo>
                    <a:cubicBezTo>
                      <a:pt x="194" y="655"/>
                      <a:pt x="198" y="651"/>
                      <a:pt x="198" y="645"/>
                    </a:cubicBezTo>
                    <a:cubicBezTo>
                      <a:pt x="198" y="562"/>
                      <a:pt x="198" y="562"/>
                      <a:pt x="198" y="562"/>
                    </a:cubicBezTo>
                    <a:cubicBezTo>
                      <a:pt x="198" y="557"/>
                      <a:pt x="194" y="553"/>
                      <a:pt x="189" y="553"/>
                    </a:cubicBezTo>
                    <a:close/>
                    <a:moveTo>
                      <a:pt x="189" y="691"/>
                    </a:moveTo>
                    <a:cubicBezTo>
                      <a:pt x="184" y="691"/>
                      <a:pt x="179" y="696"/>
                      <a:pt x="179" y="701"/>
                    </a:cubicBezTo>
                    <a:cubicBezTo>
                      <a:pt x="179" y="784"/>
                      <a:pt x="179" y="784"/>
                      <a:pt x="179" y="784"/>
                    </a:cubicBezTo>
                    <a:cubicBezTo>
                      <a:pt x="179" y="789"/>
                      <a:pt x="184" y="793"/>
                      <a:pt x="189" y="793"/>
                    </a:cubicBezTo>
                    <a:cubicBezTo>
                      <a:pt x="194" y="793"/>
                      <a:pt x="198" y="789"/>
                      <a:pt x="198" y="784"/>
                    </a:cubicBezTo>
                    <a:cubicBezTo>
                      <a:pt x="198" y="701"/>
                      <a:pt x="198" y="701"/>
                      <a:pt x="198" y="701"/>
                    </a:cubicBezTo>
                    <a:cubicBezTo>
                      <a:pt x="198" y="696"/>
                      <a:pt x="194" y="691"/>
                      <a:pt x="189" y="691"/>
                    </a:cubicBezTo>
                    <a:close/>
                    <a:moveTo>
                      <a:pt x="327" y="691"/>
                    </a:moveTo>
                    <a:cubicBezTo>
                      <a:pt x="298" y="691"/>
                      <a:pt x="276" y="714"/>
                      <a:pt x="276" y="742"/>
                    </a:cubicBezTo>
                    <a:cubicBezTo>
                      <a:pt x="276" y="770"/>
                      <a:pt x="298" y="793"/>
                      <a:pt x="327" y="793"/>
                    </a:cubicBezTo>
                    <a:cubicBezTo>
                      <a:pt x="355" y="793"/>
                      <a:pt x="378" y="770"/>
                      <a:pt x="378" y="742"/>
                    </a:cubicBezTo>
                    <a:cubicBezTo>
                      <a:pt x="378" y="714"/>
                      <a:pt x="355" y="691"/>
                      <a:pt x="327" y="691"/>
                    </a:cubicBezTo>
                    <a:close/>
                    <a:moveTo>
                      <a:pt x="327" y="774"/>
                    </a:moveTo>
                    <a:cubicBezTo>
                      <a:pt x="309" y="774"/>
                      <a:pt x="295" y="760"/>
                      <a:pt x="295" y="742"/>
                    </a:cubicBezTo>
                    <a:cubicBezTo>
                      <a:pt x="295" y="725"/>
                      <a:pt x="309" y="710"/>
                      <a:pt x="327" y="710"/>
                    </a:cubicBezTo>
                    <a:cubicBezTo>
                      <a:pt x="344" y="710"/>
                      <a:pt x="359" y="725"/>
                      <a:pt x="359" y="742"/>
                    </a:cubicBezTo>
                    <a:cubicBezTo>
                      <a:pt x="359" y="760"/>
                      <a:pt x="344" y="774"/>
                      <a:pt x="327" y="774"/>
                    </a:cubicBezTo>
                    <a:close/>
                    <a:moveTo>
                      <a:pt x="327" y="553"/>
                    </a:moveTo>
                    <a:cubicBezTo>
                      <a:pt x="298" y="553"/>
                      <a:pt x="276" y="576"/>
                      <a:pt x="276" y="604"/>
                    </a:cubicBezTo>
                    <a:cubicBezTo>
                      <a:pt x="276" y="632"/>
                      <a:pt x="298" y="655"/>
                      <a:pt x="327" y="655"/>
                    </a:cubicBezTo>
                    <a:cubicBezTo>
                      <a:pt x="355" y="655"/>
                      <a:pt x="378" y="632"/>
                      <a:pt x="378" y="604"/>
                    </a:cubicBezTo>
                    <a:cubicBezTo>
                      <a:pt x="378" y="576"/>
                      <a:pt x="355" y="553"/>
                      <a:pt x="327" y="553"/>
                    </a:cubicBezTo>
                    <a:close/>
                    <a:moveTo>
                      <a:pt x="327" y="636"/>
                    </a:moveTo>
                    <a:cubicBezTo>
                      <a:pt x="309" y="636"/>
                      <a:pt x="295" y="621"/>
                      <a:pt x="295" y="604"/>
                    </a:cubicBezTo>
                    <a:cubicBezTo>
                      <a:pt x="295" y="586"/>
                      <a:pt x="309" y="572"/>
                      <a:pt x="327" y="572"/>
                    </a:cubicBezTo>
                    <a:cubicBezTo>
                      <a:pt x="344" y="572"/>
                      <a:pt x="359" y="586"/>
                      <a:pt x="359" y="604"/>
                    </a:cubicBezTo>
                    <a:cubicBezTo>
                      <a:pt x="359" y="621"/>
                      <a:pt x="344" y="636"/>
                      <a:pt x="327" y="636"/>
                    </a:cubicBezTo>
                    <a:close/>
                    <a:moveTo>
                      <a:pt x="327" y="0"/>
                    </a:moveTo>
                    <a:cubicBezTo>
                      <a:pt x="298" y="0"/>
                      <a:pt x="276" y="23"/>
                      <a:pt x="276" y="51"/>
                    </a:cubicBezTo>
                    <a:cubicBezTo>
                      <a:pt x="276" y="79"/>
                      <a:pt x="298" y="102"/>
                      <a:pt x="327" y="102"/>
                    </a:cubicBezTo>
                    <a:cubicBezTo>
                      <a:pt x="355" y="102"/>
                      <a:pt x="378" y="79"/>
                      <a:pt x="378" y="51"/>
                    </a:cubicBezTo>
                    <a:cubicBezTo>
                      <a:pt x="378" y="23"/>
                      <a:pt x="355" y="0"/>
                      <a:pt x="327" y="0"/>
                    </a:cubicBezTo>
                    <a:close/>
                    <a:moveTo>
                      <a:pt x="327" y="83"/>
                    </a:moveTo>
                    <a:cubicBezTo>
                      <a:pt x="309" y="83"/>
                      <a:pt x="295" y="68"/>
                      <a:pt x="295" y="51"/>
                    </a:cubicBezTo>
                    <a:cubicBezTo>
                      <a:pt x="295" y="33"/>
                      <a:pt x="309" y="19"/>
                      <a:pt x="327" y="19"/>
                    </a:cubicBezTo>
                    <a:cubicBezTo>
                      <a:pt x="344" y="19"/>
                      <a:pt x="359" y="33"/>
                      <a:pt x="359" y="51"/>
                    </a:cubicBezTo>
                    <a:cubicBezTo>
                      <a:pt x="359" y="68"/>
                      <a:pt x="344" y="83"/>
                      <a:pt x="327" y="83"/>
                    </a:cubicBezTo>
                    <a:close/>
                    <a:moveTo>
                      <a:pt x="635" y="648"/>
                    </a:moveTo>
                    <a:cubicBezTo>
                      <a:pt x="633" y="642"/>
                      <a:pt x="631" y="636"/>
                      <a:pt x="629" y="629"/>
                    </a:cubicBezTo>
                    <a:cubicBezTo>
                      <a:pt x="626" y="623"/>
                      <a:pt x="622" y="616"/>
                      <a:pt x="618" y="610"/>
                    </a:cubicBezTo>
                    <a:cubicBezTo>
                      <a:pt x="622" y="591"/>
                      <a:pt x="622" y="591"/>
                      <a:pt x="622" y="591"/>
                    </a:cubicBezTo>
                    <a:cubicBezTo>
                      <a:pt x="611" y="578"/>
                      <a:pt x="597" y="568"/>
                      <a:pt x="581" y="561"/>
                    </a:cubicBezTo>
                    <a:cubicBezTo>
                      <a:pt x="564" y="571"/>
                      <a:pt x="564" y="571"/>
                      <a:pt x="564" y="571"/>
                    </a:cubicBezTo>
                    <a:cubicBezTo>
                      <a:pt x="551" y="567"/>
                      <a:pt x="538" y="566"/>
                      <a:pt x="525" y="566"/>
                    </a:cubicBezTo>
                    <a:cubicBezTo>
                      <a:pt x="511" y="553"/>
                      <a:pt x="511" y="553"/>
                      <a:pt x="511" y="553"/>
                    </a:cubicBezTo>
                    <a:cubicBezTo>
                      <a:pt x="502" y="555"/>
                      <a:pt x="494" y="557"/>
                      <a:pt x="486" y="560"/>
                    </a:cubicBezTo>
                    <a:cubicBezTo>
                      <a:pt x="478" y="564"/>
                      <a:pt x="470" y="568"/>
                      <a:pt x="464" y="573"/>
                    </a:cubicBezTo>
                    <a:cubicBezTo>
                      <a:pt x="464" y="594"/>
                      <a:pt x="464" y="594"/>
                      <a:pt x="464" y="594"/>
                    </a:cubicBezTo>
                    <a:cubicBezTo>
                      <a:pt x="454" y="603"/>
                      <a:pt x="446" y="613"/>
                      <a:pt x="440" y="625"/>
                    </a:cubicBezTo>
                    <a:cubicBezTo>
                      <a:pt x="421" y="631"/>
                      <a:pt x="421" y="631"/>
                      <a:pt x="421" y="631"/>
                    </a:cubicBezTo>
                    <a:cubicBezTo>
                      <a:pt x="415" y="647"/>
                      <a:pt x="413" y="664"/>
                      <a:pt x="414" y="682"/>
                    </a:cubicBezTo>
                    <a:cubicBezTo>
                      <a:pt x="431" y="692"/>
                      <a:pt x="431" y="692"/>
                      <a:pt x="431" y="692"/>
                    </a:cubicBezTo>
                    <a:cubicBezTo>
                      <a:pt x="433" y="699"/>
                      <a:pt x="435" y="706"/>
                      <a:pt x="438" y="713"/>
                    </a:cubicBezTo>
                    <a:cubicBezTo>
                      <a:pt x="441" y="719"/>
                      <a:pt x="444" y="725"/>
                      <a:pt x="448" y="731"/>
                    </a:cubicBezTo>
                    <a:cubicBezTo>
                      <a:pt x="443" y="750"/>
                      <a:pt x="443" y="750"/>
                      <a:pt x="443" y="750"/>
                    </a:cubicBezTo>
                    <a:cubicBezTo>
                      <a:pt x="454" y="763"/>
                      <a:pt x="468" y="773"/>
                      <a:pt x="482" y="780"/>
                    </a:cubicBezTo>
                    <a:cubicBezTo>
                      <a:pt x="499" y="770"/>
                      <a:pt x="499" y="770"/>
                      <a:pt x="499" y="770"/>
                    </a:cubicBezTo>
                    <a:cubicBezTo>
                      <a:pt x="513" y="775"/>
                      <a:pt x="528" y="777"/>
                      <a:pt x="542" y="776"/>
                    </a:cubicBezTo>
                    <a:cubicBezTo>
                      <a:pt x="558" y="790"/>
                      <a:pt x="558" y="790"/>
                      <a:pt x="558" y="790"/>
                    </a:cubicBezTo>
                    <a:cubicBezTo>
                      <a:pt x="565" y="788"/>
                      <a:pt x="573" y="785"/>
                      <a:pt x="581" y="782"/>
                    </a:cubicBezTo>
                    <a:cubicBezTo>
                      <a:pt x="588" y="779"/>
                      <a:pt x="595" y="774"/>
                      <a:pt x="602" y="770"/>
                    </a:cubicBezTo>
                    <a:cubicBezTo>
                      <a:pt x="602" y="750"/>
                      <a:pt x="602" y="750"/>
                      <a:pt x="602" y="750"/>
                    </a:cubicBezTo>
                    <a:cubicBezTo>
                      <a:pt x="613" y="740"/>
                      <a:pt x="622" y="728"/>
                      <a:pt x="628" y="714"/>
                    </a:cubicBezTo>
                    <a:cubicBezTo>
                      <a:pt x="646" y="709"/>
                      <a:pt x="646" y="709"/>
                      <a:pt x="646" y="709"/>
                    </a:cubicBezTo>
                    <a:cubicBezTo>
                      <a:pt x="652" y="693"/>
                      <a:pt x="653" y="676"/>
                      <a:pt x="652" y="659"/>
                    </a:cubicBezTo>
                    <a:cubicBezTo>
                      <a:pt x="635" y="648"/>
                      <a:pt x="635" y="648"/>
                      <a:pt x="635" y="648"/>
                    </a:cubicBezTo>
                    <a:close/>
                    <a:moveTo>
                      <a:pt x="554" y="720"/>
                    </a:moveTo>
                    <a:cubicBezTo>
                      <a:pt x="528" y="731"/>
                      <a:pt x="497" y="719"/>
                      <a:pt x="485" y="692"/>
                    </a:cubicBezTo>
                    <a:cubicBezTo>
                      <a:pt x="474" y="665"/>
                      <a:pt x="486" y="634"/>
                      <a:pt x="512" y="623"/>
                    </a:cubicBezTo>
                    <a:cubicBezTo>
                      <a:pt x="539" y="611"/>
                      <a:pt x="570" y="624"/>
                      <a:pt x="581" y="650"/>
                    </a:cubicBezTo>
                    <a:cubicBezTo>
                      <a:pt x="593" y="677"/>
                      <a:pt x="581" y="708"/>
                      <a:pt x="554" y="720"/>
                    </a:cubicBezTo>
                    <a:close/>
                    <a:moveTo>
                      <a:pt x="301" y="355"/>
                    </a:moveTo>
                    <a:cubicBezTo>
                      <a:pt x="309" y="351"/>
                      <a:pt x="316" y="347"/>
                      <a:pt x="323" y="342"/>
                    </a:cubicBezTo>
                    <a:cubicBezTo>
                      <a:pt x="323" y="322"/>
                      <a:pt x="323" y="322"/>
                      <a:pt x="323" y="322"/>
                    </a:cubicBezTo>
                    <a:cubicBezTo>
                      <a:pt x="334" y="312"/>
                      <a:pt x="343" y="300"/>
                      <a:pt x="349" y="287"/>
                    </a:cubicBezTo>
                    <a:cubicBezTo>
                      <a:pt x="367" y="282"/>
                      <a:pt x="367" y="282"/>
                      <a:pt x="367" y="282"/>
                    </a:cubicBezTo>
                    <a:cubicBezTo>
                      <a:pt x="373" y="266"/>
                      <a:pt x="374" y="249"/>
                      <a:pt x="373" y="232"/>
                    </a:cubicBezTo>
                    <a:cubicBezTo>
                      <a:pt x="356" y="221"/>
                      <a:pt x="356" y="221"/>
                      <a:pt x="356" y="221"/>
                    </a:cubicBezTo>
                    <a:cubicBezTo>
                      <a:pt x="354" y="215"/>
                      <a:pt x="352" y="209"/>
                      <a:pt x="350" y="202"/>
                    </a:cubicBezTo>
                    <a:cubicBezTo>
                      <a:pt x="347" y="196"/>
                      <a:pt x="343" y="189"/>
                      <a:pt x="339" y="183"/>
                    </a:cubicBezTo>
                    <a:cubicBezTo>
                      <a:pt x="343" y="163"/>
                      <a:pt x="343" y="163"/>
                      <a:pt x="343" y="163"/>
                    </a:cubicBezTo>
                    <a:cubicBezTo>
                      <a:pt x="332" y="151"/>
                      <a:pt x="318" y="140"/>
                      <a:pt x="302" y="134"/>
                    </a:cubicBezTo>
                    <a:cubicBezTo>
                      <a:pt x="285" y="144"/>
                      <a:pt x="285" y="144"/>
                      <a:pt x="285" y="144"/>
                    </a:cubicBezTo>
                    <a:cubicBezTo>
                      <a:pt x="272" y="140"/>
                      <a:pt x="259" y="138"/>
                      <a:pt x="246" y="139"/>
                    </a:cubicBezTo>
                    <a:cubicBezTo>
                      <a:pt x="232" y="126"/>
                      <a:pt x="232" y="126"/>
                      <a:pt x="232" y="126"/>
                    </a:cubicBezTo>
                    <a:cubicBezTo>
                      <a:pt x="223" y="127"/>
                      <a:pt x="215" y="130"/>
                      <a:pt x="207" y="133"/>
                    </a:cubicBezTo>
                    <a:cubicBezTo>
                      <a:pt x="199" y="137"/>
                      <a:pt x="191" y="141"/>
                      <a:pt x="185" y="146"/>
                    </a:cubicBezTo>
                    <a:cubicBezTo>
                      <a:pt x="185" y="167"/>
                      <a:pt x="185" y="167"/>
                      <a:pt x="185" y="167"/>
                    </a:cubicBezTo>
                    <a:cubicBezTo>
                      <a:pt x="175" y="176"/>
                      <a:pt x="167" y="186"/>
                      <a:pt x="161" y="197"/>
                    </a:cubicBezTo>
                    <a:cubicBezTo>
                      <a:pt x="142" y="203"/>
                      <a:pt x="142" y="203"/>
                      <a:pt x="142" y="203"/>
                    </a:cubicBezTo>
                    <a:cubicBezTo>
                      <a:pt x="136" y="219"/>
                      <a:pt x="134" y="237"/>
                      <a:pt x="135" y="255"/>
                    </a:cubicBezTo>
                    <a:cubicBezTo>
                      <a:pt x="152" y="265"/>
                      <a:pt x="152" y="265"/>
                      <a:pt x="152" y="265"/>
                    </a:cubicBezTo>
                    <a:cubicBezTo>
                      <a:pt x="153" y="272"/>
                      <a:pt x="156" y="279"/>
                      <a:pt x="159" y="285"/>
                    </a:cubicBezTo>
                    <a:cubicBezTo>
                      <a:pt x="162" y="292"/>
                      <a:pt x="165" y="298"/>
                      <a:pt x="169" y="303"/>
                    </a:cubicBezTo>
                    <a:cubicBezTo>
                      <a:pt x="164" y="322"/>
                      <a:pt x="164" y="322"/>
                      <a:pt x="164" y="322"/>
                    </a:cubicBezTo>
                    <a:cubicBezTo>
                      <a:pt x="175" y="336"/>
                      <a:pt x="189" y="346"/>
                      <a:pt x="203" y="353"/>
                    </a:cubicBezTo>
                    <a:cubicBezTo>
                      <a:pt x="220" y="343"/>
                      <a:pt x="220" y="343"/>
                      <a:pt x="220" y="343"/>
                    </a:cubicBezTo>
                    <a:cubicBezTo>
                      <a:pt x="234" y="348"/>
                      <a:pt x="249" y="350"/>
                      <a:pt x="263" y="348"/>
                    </a:cubicBezTo>
                    <a:cubicBezTo>
                      <a:pt x="278" y="362"/>
                      <a:pt x="278" y="362"/>
                      <a:pt x="278" y="362"/>
                    </a:cubicBezTo>
                    <a:cubicBezTo>
                      <a:pt x="286" y="360"/>
                      <a:pt x="294" y="358"/>
                      <a:pt x="301" y="355"/>
                    </a:cubicBezTo>
                    <a:close/>
                    <a:moveTo>
                      <a:pt x="206" y="265"/>
                    </a:moveTo>
                    <a:cubicBezTo>
                      <a:pt x="195" y="238"/>
                      <a:pt x="207" y="207"/>
                      <a:pt x="233" y="196"/>
                    </a:cubicBezTo>
                    <a:cubicBezTo>
                      <a:pt x="260" y="184"/>
                      <a:pt x="291" y="196"/>
                      <a:pt x="302" y="223"/>
                    </a:cubicBezTo>
                    <a:cubicBezTo>
                      <a:pt x="314" y="249"/>
                      <a:pt x="301" y="281"/>
                      <a:pt x="275" y="292"/>
                    </a:cubicBezTo>
                    <a:cubicBezTo>
                      <a:pt x="249" y="304"/>
                      <a:pt x="218" y="292"/>
                      <a:pt x="206" y="2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A02C390-133D-4010-9069-3A8E067B2111}"/>
              </a:ext>
            </a:extLst>
          </p:cNvPr>
          <p:cNvGrpSpPr/>
          <p:nvPr/>
        </p:nvGrpSpPr>
        <p:grpSpPr>
          <a:xfrm>
            <a:off x="2557031" y="2634907"/>
            <a:ext cx="593658" cy="593658"/>
            <a:chOff x="-427769" y="4593617"/>
            <a:chExt cx="593658" cy="593658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3D3C495B-2D01-47CD-880A-A82AC53FF99C}"/>
                </a:ext>
              </a:extLst>
            </p:cNvPr>
            <p:cNvSpPr/>
            <p:nvPr/>
          </p:nvSpPr>
          <p:spPr>
            <a:xfrm>
              <a:off x="-427769" y="4593617"/>
              <a:ext cx="593658" cy="59365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grpSp>
          <p:nvGrpSpPr>
            <p:cNvPr id="115" name="Group 5">
              <a:extLst>
                <a:ext uri="{FF2B5EF4-FFF2-40B4-BE49-F238E27FC236}">
                  <a16:creationId xmlns:a16="http://schemas.microsoft.com/office/drawing/2014/main" id="{EFDAC8DA-7BF5-406D-95B7-8B6373E167C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-359539" y="4661846"/>
              <a:ext cx="457200" cy="457200"/>
              <a:chOff x="736" y="1081"/>
              <a:chExt cx="288" cy="288"/>
            </a:xfrm>
          </p:grpSpPr>
          <p:sp>
            <p:nvSpPr>
              <p:cNvPr id="116" name="AutoShape 4">
                <a:extLst>
                  <a:ext uri="{FF2B5EF4-FFF2-40B4-BE49-F238E27FC236}">
                    <a16:creationId xmlns:a16="http://schemas.microsoft.com/office/drawing/2014/main" id="{AD3233AF-57A2-4D20-BB40-BD64BC64229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36" y="1081"/>
                <a:ext cx="288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0">
                <a:extLst>
                  <a:ext uri="{FF2B5EF4-FFF2-40B4-BE49-F238E27FC236}">
                    <a16:creationId xmlns:a16="http://schemas.microsoft.com/office/drawing/2014/main" id="{3175DC83-C014-4430-BB2F-DA9069BB6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1" y="1129"/>
                <a:ext cx="219" cy="192"/>
              </a:xfrm>
              <a:custGeom>
                <a:avLst/>
                <a:gdLst>
                  <a:gd name="T0" fmla="*/ 564 w 760"/>
                  <a:gd name="T1" fmla="*/ 12 h 664"/>
                  <a:gd name="T2" fmla="*/ 590 w 760"/>
                  <a:gd name="T3" fmla="*/ 12 h 664"/>
                  <a:gd name="T4" fmla="*/ 393 w 760"/>
                  <a:gd name="T5" fmla="*/ 12 h 664"/>
                  <a:gd name="T6" fmla="*/ 419 w 760"/>
                  <a:gd name="T7" fmla="*/ 12 h 664"/>
                  <a:gd name="T8" fmla="*/ 223 w 760"/>
                  <a:gd name="T9" fmla="*/ 12 h 664"/>
                  <a:gd name="T10" fmla="*/ 248 w 760"/>
                  <a:gd name="T11" fmla="*/ 12 h 664"/>
                  <a:gd name="T12" fmla="*/ 52 w 760"/>
                  <a:gd name="T13" fmla="*/ 12 h 664"/>
                  <a:gd name="T14" fmla="*/ 79 w 760"/>
                  <a:gd name="T15" fmla="*/ 12 h 664"/>
                  <a:gd name="T16" fmla="*/ 249 w 760"/>
                  <a:gd name="T17" fmla="*/ 134 h 664"/>
                  <a:gd name="T18" fmla="*/ 305 w 760"/>
                  <a:gd name="T19" fmla="*/ 82 h 664"/>
                  <a:gd name="T20" fmla="*/ 223 w 760"/>
                  <a:gd name="T21" fmla="*/ 69 h 664"/>
                  <a:gd name="T22" fmla="*/ 13 w 760"/>
                  <a:gd name="T23" fmla="*/ 69 h 664"/>
                  <a:gd name="T24" fmla="*/ 13 w 760"/>
                  <a:gd name="T25" fmla="*/ 134 h 664"/>
                  <a:gd name="T26" fmla="*/ 248 w 760"/>
                  <a:gd name="T27" fmla="*/ 200 h 664"/>
                  <a:gd name="T28" fmla="*/ 223 w 760"/>
                  <a:gd name="T29" fmla="*/ 200 h 664"/>
                  <a:gd name="T30" fmla="*/ 79 w 760"/>
                  <a:gd name="T31" fmla="*/ 200 h 664"/>
                  <a:gd name="T32" fmla="*/ 52 w 760"/>
                  <a:gd name="T33" fmla="*/ 200 h 664"/>
                  <a:gd name="T34" fmla="*/ 79 w 760"/>
                  <a:gd name="T35" fmla="*/ 652 h 664"/>
                  <a:gd name="T36" fmla="*/ 52 w 760"/>
                  <a:gd name="T37" fmla="*/ 652 h 664"/>
                  <a:gd name="T38" fmla="*/ 420 w 760"/>
                  <a:gd name="T39" fmla="*/ 291 h 664"/>
                  <a:gd name="T40" fmla="*/ 446 w 760"/>
                  <a:gd name="T41" fmla="*/ 238 h 664"/>
                  <a:gd name="T42" fmla="*/ 394 w 760"/>
                  <a:gd name="T43" fmla="*/ 226 h 664"/>
                  <a:gd name="T44" fmla="*/ 79 w 760"/>
                  <a:gd name="T45" fmla="*/ 226 h 664"/>
                  <a:gd name="T46" fmla="*/ 35 w 760"/>
                  <a:gd name="T47" fmla="*/ 238 h 664"/>
                  <a:gd name="T48" fmla="*/ 53 w 760"/>
                  <a:gd name="T49" fmla="*/ 291 h 664"/>
                  <a:gd name="T50" fmla="*/ 250 w 760"/>
                  <a:gd name="T51" fmla="*/ 291 h 664"/>
                  <a:gd name="T52" fmla="*/ 419 w 760"/>
                  <a:gd name="T53" fmla="*/ 318 h 664"/>
                  <a:gd name="T54" fmla="*/ 223 w 760"/>
                  <a:gd name="T55" fmla="*/ 511 h 664"/>
                  <a:gd name="T56" fmla="*/ 223 w 760"/>
                  <a:gd name="T57" fmla="*/ 318 h 664"/>
                  <a:gd name="T58" fmla="*/ 236 w 760"/>
                  <a:gd name="T59" fmla="*/ 664 h 664"/>
                  <a:gd name="T60" fmla="*/ 223 w 760"/>
                  <a:gd name="T61" fmla="*/ 628 h 664"/>
                  <a:gd name="T62" fmla="*/ 406 w 760"/>
                  <a:gd name="T63" fmla="*/ 664 h 664"/>
                  <a:gd name="T64" fmla="*/ 393 w 760"/>
                  <a:gd name="T65" fmla="*/ 628 h 664"/>
                  <a:gd name="T66" fmla="*/ 577 w 760"/>
                  <a:gd name="T67" fmla="*/ 664 h 664"/>
                  <a:gd name="T68" fmla="*/ 564 w 760"/>
                  <a:gd name="T69" fmla="*/ 628 h 664"/>
                  <a:gd name="T70" fmla="*/ 590 w 760"/>
                  <a:gd name="T71" fmla="*/ 536 h 664"/>
                  <a:gd name="T72" fmla="*/ 394 w 760"/>
                  <a:gd name="T73" fmla="*/ 536 h 664"/>
                  <a:gd name="T74" fmla="*/ 185 w 760"/>
                  <a:gd name="T75" fmla="*/ 536 h 664"/>
                  <a:gd name="T76" fmla="*/ 185 w 760"/>
                  <a:gd name="T77" fmla="*/ 601 h 664"/>
                  <a:gd name="T78" fmla="*/ 394 w 760"/>
                  <a:gd name="T79" fmla="*/ 601 h 664"/>
                  <a:gd name="T80" fmla="*/ 590 w 760"/>
                  <a:gd name="T81" fmla="*/ 601 h 664"/>
                  <a:gd name="T82" fmla="*/ 648 w 760"/>
                  <a:gd name="T83" fmla="*/ 549 h 664"/>
                  <a:gd name="T84" fmla="*/ 393 w 760"/>
                  <a:gd name="T85" fmla="*/ 471 h 664"/>
                  <a:gd name="T86" fmla="*/ 419 w 760"/>
                  <a:gd name="T87" fmla="*/ 471 h 664"/>
                  <a:gd name="T88" fmla="*/ 564 w 760"/>
                  <a:gd name="T89" fmla="*/ 511 h 664"/>
                  <a:gd name="T90" fmla="*/ 649 w 760"/>
                  <a:gd name="T91" fmla="*/ 381 h 664"/>
                  <a:gd name="T92" fmla="*/ 420 w 760"/>
                  <a:gd name="T93" fmla="*/ 381 h 664"/>
                  <a:gd name="T94" fmla="*/ 312 w 760"/>
                  <a:gd name="T95" fmla="*/ 394 h 664"/>
                  <a:gd name="T96" fmla="*/ 394 w 760"/>
                  <a:gd name="T97" fmla="*/ 446 h 664"/>
                  <a:gd name="T98" fmla="*/ 590 w 760"/>
                  <a:gd name="T99" fmla="*/ 446 h 664"/>
                  <a:gd name="T100" fmla="*/ 662 w 760"/>
                  <a:gd name="T101" fmla="*/ 394 h 664"/>
                  <a:gd name="T102" fmla="*/ 734 w 760"/>
                  <a:gd name="T103" fmla="*/ 12 h 664"/>
                  <a:gd name="T104" fmla="*/ 760 w 760"/>
                  <a:gd name="T105" fmla="*/ 652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60" h="664">
                    <a:moveTo>
                      <a:pt x="590" y="12"/>
                    </a:moveTo>
                    <a:cubicBezTo>
                      <a:pt x="590" y="5"/>
                      <a:pt x="584" y="0"/>
                      <a:pt x="577" y="0"/>
                    </a:cubicBezTo>
                    <a:cubicBezTo>
                      <a:pt x="570" y="0"/>
                      <a:pt x="564" y="5"/>
                      <a:pt x="564" y="12"/>
                    </a:cubicBezTo>
                    <a:cubicBezTo>
                      <a:pt x="564" y="355"/>
                      <a:pt x="564" y="355"/>
                      <a:pt x="564" y="355"/>
                    </a:cubicBezTo>
                    <a:cubicBezTo>
                      <a:pt x="590" y="355"/>
                      <a:pt x="590" y="355"/>
                      <a:pt x="590" y="355"/>
                    </a:cubicBezTo>
                    <a:lnTo>
                      <a:pt x="590" y="12"/>
                    </a:lnTo>
                    <a:close/>
                    <a:moveTo>
                      <a:pt x="419" y="12"/>
                    </a:moveTo>
                    <a:cubicBezTo>
                      <a:pt x="419" y="5"/>
                      <a:pt x="413" y="0"/>
                      <a:pt x="406" y="0"/>
                    </a:cubicBezTo>
                    <a:cubicBezTo>
                      <a:pt x="399" y="0"/>
                      <a:pt x="393" y="5"/>
                      <a:pt x="393" y="12"/>
                    </a:cubicBezTo>
                    <a:cubicBezTo>
                      <a:pt x="393" y="200"/>
                      <a:pt x="393" y="200"/>
                      <a:pt x="393" y="200"/>
                    </a:cubicBezTo>
                    <a:cubicBezTo>
                      <a:pt x="419" y="200"/>
                      <a:pt x="419" y="200"/>
                      <a:pt x="419" y="200"/>
                    </a:cubicBezTo>
                    <a:lnTo>
                      <a:pt x="419" y="12"/>
                    </a:lnTo>
                    <a:close/>
                    <a:moveTo>
                      <a:pt x="248" y="12"/>
                    </a:moveTo>
                    <a:cubicBezTo>
                      <a:pt x="248" y="5"/>
                      <a:pt x="243" y="0"/>
                      <a:pt x="236" y="0"/>
                    </a:cubicBezTo>
                    <a:cubicBezTo>
                      <a:pt x="229" y="0"/>
                      <a:pt x="223" y="5"/>
                      <a:pt x="223" y="12"/>
                    </a:cubicBezTo>
                    <a:cubicBezTo>
                      <a:pt x="223" y="44"/>
                      <a:pt x="223" y="44"/>
                      <a:pt x="223" y="44"/>
                    </a:cubicBezTo>
                    <a:cubicBezTo>
                      <a:pt x="248" y="44"/>
                      <a:pt x="248" y="44"/>
                      <a:pt x="248" y="44"/>
                    </a:cubicBezTo>
                    <a:lnTo>
                      <a:pt x="248" y="12"/>
                    </a:lnTo>
                    <a:close/>
                    <a:moveTo>
                      <a:pt x="79" y="12"/>
                    </a:moveTo>
                    <a:cubicBezTo>
                      <a:pt x="79" y="5"/>
                      <a:pt x="73" y="0"/>
                      <a:pt x="65" y="0"/>
                    </a:cubicBezTo>
                    <a:cubicBezTo>
                      <a:pt x="58" y="0"/>
                      <a:pt x="52" y="5"/>
                      <a:pt x="52" y="12"/>
                    </a:cubicBezTo>
                    <a:cubicBezTo>
                      <a:pt x="52" y="44"/>
                      <a:pt x="52" y="44"/>
                      <a:pt x="52" y="44"/>
                    </a:cubicBezTo>
                    <a:cubicBezTo>
                      <a:pt x="79" y="44"/>
                      <a:pt x="79" y="44"/>
                      <a:pt x="79" y="44"/>
                    </a:cubicBezTo>
                    <a:lnTo>
                      <a:pt x="79" y="12"/>
                    </a:lnTo>
                    <a:close/>
                    <a:moveTo>
                      <a:pt x="79" y="134"/>
                    </a:moveTo>
                    <a:cubicBezTo>
                      <a:pt x="223" y="134"/>
                      <a:pt x="223" y="134"/>
                      <a:pt x="223" y="134"/>
                    </a:cubicBezTo>
                    <a:cubicBezTo>
                      <a:pt x="249" y="134"/>
                      <a:pt x="249" y="134"/>
                      <a:pt x="249" y="134"/>
                    </a:cubicBezTo>
                    <a:cubicBezTo>
                      <a:pt x="292" y="134"/>
                      <a:pt x="292" y="134"/>
                      <a:pt x="292" y="134"/>
                    </a:cubicBezTo>
                    <a:cubicBezTo>
                      <a:pt x="299" y="134"/>
                      <a:pt x="305" y="128"/>
                      <a:pt x="305" y="121"/>
                    </a:cubicBezTo>
                    <a:cubicBezTo>
                      <a:pt x="305" y="82"/>
                      <a:pt x="305" y="82"/>
                      <a:pt x="305" y="82"/>
                    </a:cubicBezTo>
                    <a:cubicBezTo>
                      <a:pt x="305" y="75"/>
                      <a:pt x="299" y="69"/>
                      <a:pt x="292" y="69"/>
                    </a:cubicBezTo>
                    <a:cubicBezTo>
                      <a:pt x="249" y="69"/>
                      <a:pt x="249" y="69"/>
                      <a:pt x="249" y="69"/>
                    </a:cubicBezTo>
                    <a:cubicBezTo>
                      <a:pt x="223" y="69"/>
                      <a:pt x="223" y="69"/>
                      <a:pt x="223" y="69"/>
                    </a:cubicBezTo>
                    <a:cubicBezTo>
                      <a:pt x="79" y="69"/>
                      <a:pt x="79" y="69"/>
                      <a:pt x="79" y="69"/>
                    </a:cubicBezTo>
                    <a:cubicBezTo>
                      <a:pt x="53" y="69"/>
                      <a:pt x="53" y="69"/>
                      <a:pt x="53" y="69"/>
                    </a:cubicBezTo>
                    <a:cubicBezTo>
                      <a:pt x="13" y="69"/>
                      <a:pt x="13" y="69"/>
                      <a:pt x="13" y="69"/>
                    </a:cubicBezTo>
                    <a:cubicBezTo>
                      <a:pt x="6" y="69"/>
                      <a:pt x="0" y="75"/>
                      <a:pt x="0" y="8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0" y="128"/>
                      <a:pt x="6" y="134"/>
                      <a:pt x="13" y="134"/>
                    </a:cubicBezTo>
                    <a:cubicBezTo>
                      <a:pt x="53" y="134"/>
                      <a:pt x="53" y="134"/>
                      <a:pt x="53" y="134"/>
                    </a:cubicBezTo>
                    <a:lnTo>
                      <a:pt x="79" y="134"/>
                    </a:lnTo>
                    <a:close/>
                    <a:moveTo>
                      <a:pt x="248" y="200"/>
                    </a:moveTo>
                    <a:cubicBezTo>
                      <a:pt x="248" y="161"/>
                      <a:pt x="248" y="161"/>
                      <a:pt x="248" y="161"/>
                    </a:cubicBezTo>
                    <a:cubicBezTo>
                      <a:pt x="223" y="161"/>
                      <a:pt x="223" y="161"/>
                      <a:pt x="223" y="161"/>
                    </a:cubicBezTo>
                    <a:cubicBezTo>
                      <a:pt x="223" y="200"/>
                      <a:pt x="223" y="200"/>
                      <a:pt x="223" y="200"/>
                    </a:cubicBezTo>
                    <a:lnTo>
                      <a:pt x="248" y="200"/>
                    </a:lnTo>
                    <a:close/>
                    <a:moveTo>
                      <a:pt x="52" y="200"/>
                    </a:moveTo>
                    <a:cubicBezTo>
                      <a:pt x="79" y="200"/>
                      <a:pt x="79" y="200"/>
                      <a:pt x="79" y="200"/>
                    </a:cubicBezTo>
                    <a:cubicBezTo>
                      <a:pt x="79" y="161"/>
                      <a:pt x="79" y="161"/>
                      <a:pt x="79" y="161"/>
                    </a:cubicBezTo>
                    <a:cubicBezTo>
                      <a:pt x="52" y="161"/>
                      <a:pt x="52" y="161"/>
                      <a:pt x="52" y="161"/>
                    </a:cubicBezTo>
                    <a:lnTo>
                      <a:pt x="52" y="200"/>
                    </a:lnTo>
                    <a:close/>
                    <a:moveTo>
                      <a:pt x="52" y="652"/>
                    </a:moveTo>
                    <a:cubicBezTo>
                      <a:pt x="52" y="659"/>
                      <a:pt x="58" y="664"/>
                      <a:pt x="65" y="664"/>
                    </a:cubicBezTo>
                    <a:cubicBezTo>
                      <a:pt x="73" y="664"/>
                      <a:pt x="79" y="659"/>
                      <a:pt x="79" y="652"/>
                    </a:cubicBezTo>
                    <a:cubicBezTo>
                      <a:pt x="79" y="318"/>
                      <a:pt x="79" y="318"/>
                      <a:pt x="79" y="318"/>
                    </a:cubicBezTo>
                    <a:cubicBezTo>
                      <a:pt x="52" y="318"/>
                      <a:pt x="52" y="318"/>
                      <a:pt x="52" y="318"/>
                    </a:cubicBezTo>
                    <a:cubicBezTo>
                      <a:pt x="52" y="652"/>
                      <a:pt x="52" y="652"/>
                      <a:pt x="52" y="652"/>
                    </a:cubicBezTo>
                    <a:close/>
                    <a:moveTo>
                      <a:pt x="250" y="291"/>
                    </a:moveTo>
                    <a:cubicBezTo>
                      <a:pt x="394" y="291"/>
                      <a:pt x="394" y="291"/>
                      <a:pt x="394" y="291"/>
                    </a:cubicBezTo>
                    <a:cubicBezTo>
                      <a:pt x="420" y="291"/>
                      <a:pt x="420" y="291"/>
                      <a:pt x="420" y="291"/>
                    </a:cubicBezTo>
                    <a:cubicBezTo>
                      <a:pt x="433" y="291"/>
                      <a:pt x="433" y="291"/>
                      <a:pt x="433" y="291"/>
                    </a:cubicBezTo>
                    <a:cubicBezTo>
                      <a:pt x="441" y="291"/>
                      <a:pt x="446" y="285"/>
                      <a:pt x="446" y="278"/>
                    </a:cubicBezTo>
                    <a:cubicBezTo>
                      <a:pt x="446" y="238"/>
                      <a:pt x="446" y="238"/>
                      <a:pt x="446" y="238"/>
                    </a:cubicBezTo>
                    <a:cubicBezTo>
                      <a:pt x="446" y="231"/>
                      <a:pt x="441" y="226"/>
                      <a:pt x="433" y="226"/>
                    </a:cubicBezTo>
                    <a:cubicBezTo>
                      <a:pt x="420" y="226"/>
                      <a:pt x="420" y="226"/>
                      <a:pt x="420" y="226"/>
                    </a:cubicBezTo>
                    <a:cubicBezTo>
                      <a:pt x="394" y="226"/>
                      <a:pt x="394" y="226"/>
                      <a:pt x="394" y="226"/>
                    </a:cubicBezTo>
                    <a:cubicBezTo>
                      <a:pt x="250" y="226"/>
                      <a:pt x="250" y="226"/>
                      <a:pt x="250" y="226"/>
                    </a:cubicBezTo>
                    <a:cubicBezTo>
                      <a:pt x="224" y="226"/>
                      <a:pt x="224" y="226"/>
                      <a:pt x="224" y="226"/>
                    </a:cubicBezTo>
                    <a:cubicBezTo>
                      <a:pt x="79" y="226"/>
                      <a:pt x="79" y="226"/>
                      <a:pt x="79" y="226"/>
                    </a:cubicBezTo>
                    <a:cubicBezTo>
                      <a:pt x="53" y="226"/>
                      <a:pt x="53" y="226"/>
                      <a:pt x="53" y="226"/>
                    </a:cubicBezTo>
                    <a:cubicBezTo>
                      <a:pt x="48" y="226"/>
                      <a:pt x="48" y="226"/>
                      <a:pt x="48" y="226"/>
                    </a:cubicBezTo>
                    <a:cubicBezTo>
                      <a:pt x="40" y="226"/>
                      <a:pt x="35" y="231"/>
                      <a:pt x="35" y="238"/>
                    </a:cubicBezTo>
                    <a:cubicBezTo>
                      <a:pt x="35" y="278"/>
                      <a:pt x="35" y="278"/>
                      <a:pt x="35" y="278"/>
                    </a:cubicBezTo>
                    <a:cubicBezTo>
                      <a:pt x="35" y="285"/>
                      <a:pt x="40" y="291"/>
                      <a:pt x="48" y="291"/>
                    </a:cubicBezTo>
                    <a:cubicBezTo>
                      <a:pt x="53" y="291"/>
                      <a:pt x="53" y="291"/>
                      <a:pt x="53" y="291"/>
                    </a:cubicBezTo>
                    <a:cubicBezTo>
                      <a:pt x="79" y="291"/>
                      <a:pt x="79" y="291"/>
                      <a:pt x="79" y="291"/>
                    </a:cubicBezTo>
                    <a:cubicBezTo>
                      <a:pt x="224" y="291"/>
                      <a:pt x="224" y="291"/>
                      <a:pt x="224" y="291"/>
                    </a:cubicBezTo>
                    <a:lnTo>
                      <a:pt x="250" y="291"/>
                    </a:lnTo>
                    <a:close/>
                    <a:moveTo>
                      <a:pt x="393" y="355"/>
                    </a:moveTo>
                    <a:cubicBezTo>
                      <a:pt x="419" y="355"/>
                      <a:pt x="419" y="355"/>
                      <a:pt x="419" y="355"/>
                    </a:cubicBezTo>
                    <a:cubicBezTo>
                      <a:pt x="419" y="318"/>
                      <a:pt x="419" y="318"/>
                      <a:pt x="419" y="318"/>
                    </a:cubicBezTo>
                    <a:cubicBezTo>
                      <a:pt x="393" y="318"/>
                      <a:pt x="393" y="318"/>
                      <a:pt x="393" y="318"/>
                    </a:cubicBezTo>
                    <a:lnTo>
                      <a:pt x="393" y="355"/>
                    </a:lnTo>
                    <a:close/>
                    <a:moveTo>
                      <a:pt x="223" y="511"/>
                    </a:moveTo>
                    <a:cubicBezTo>
                      <a:pt x="248" y="511"/>
                      <a:pt x="248" y="511"/>
                      <a:pt x="248" y="511"/>
                    </a:cubicBezTo>
                    <a:cubicBezTo>
                      <a:pt x="248" y="318"/>
                      <a:pt x="248" y="318"/>
                      <a:pt x="248" y="318"/>
                    </a:cubicBezTo>
                    <a:cubicBezTo>
                      <a:pt x="223" y="318"/>
                      <a:pt x="223" y="318"/>
                      <a:pt x="223" y="318"/>
                    </a:cubicBezTo>
                    <a:lnTo>
                      <a:pt x="223" y="511"/>
                    </a:lnTo>
                    <a:close/>
                    <a:moveTo>
                      <a:pt x="223" y="651"/>
                    </a:moveTo>
                    <a:cubicBezTo>
                      <a:pt x="223" y="659"/>
                      <a:pt x="229" y="664"/>
                      <a:pt x="236" y="664"/>
                    </a:cubicBezTo>
                    <a:cubicBezTo>
                      <a:pt x="243" y="664"/>
                      <a:pt x="248" y="659"/>
                      <a:pt x="248" y="651"/>
                    </a:cubicBezTo>
                    <a:cubicBezTo>
                      <a:pt x="248" y="628"/>
                      <a:pt x="248" y="628"/>
                      <a:pt x="248" y="628"/>
                    </a:cubicBezTo>
                    <a:cubicBezTo>
                      <a:pt x="223" y="628"/>
                      <a:pt x="223" y="628"/>
                      <a:pt x="223" y="628"/>
                    </a:cubicBezTo>
                    <a:cubicBezTo>
                      <a:pt x="223" y="651"/>
                      <a:pt x="223" y="651"/>
                      <a:pt x="223" y="651"/>
                    </a:cubicBezTo>
                    <a:close/>
                    <a:moveTo>
                      <a:pt x="393" y="651"/>
                    </a:moveTo>
                    <a:cubicBezTo>
                      <a:pt x="393" y="659"/>
                      <a:pt x="399" y="664"/>
                      <a:pt x="406" y="664"/>
                    </a:cubicBezTo>
                    <a:cubicBezTo>
                      <a:pt x="413" y="664"/>
                      <a:pt x="419" y="659"/>
                      <a:pt x="419" y="651"/>
                    </a:cubicBezTo>
                    <a:cubicBezTo>
                      <a:pt x="419" y="628"/>
                      <a:pt x="419" y="628"/>
                      <a:pt x="419" y="628"/>
                    </a:cubicBezTo>
                    <a:cubicBezTo>
                      <a:pt x="393" y="628"/>
                      <a:pt x="393" y="628"/>
                      <a:pt x="393" y="628"/>
                    </a:cubicBezTo>
                    <a:cubicBezTo>
                      <a:pt x="393" y="651"/>
                      <a:pt x="393" y="651"/>
                      <a:pt x="393" y="651"/>
                    </a:cubicBezTo>
                    <a:close/>
                    <a:moveTo>
                      <a:pt x="564" y="651"/>
                    </a:moveTo>
                    <a:cubicBezTo>
                      <a:pt x="564" y="659"/>
                      <a:pt x="570" y="664"/>
                      <a:pt x="577" y="664"/>
                    </a:cubicBezTo>
                    <a:cubicBezTo>
                      <a:pt x="584" y="664"/>
                      <a:pt x="590" y="659"/>
                      <a:pt x="590" y="651"/>
                    </a:cubicBezTo>
                    <a:cubicBezTo>
                      <a:pt x="590" y="628"/>
                      <a:pt x="590" y="628"/>
                      <a:pt x="590" y="628"/>
                    </a:cubicBezTo>
                    <a:cubicBezTo>
                      <a:pt x="564" y="628"/>
                      <a:pt x="564" y="628"/>
                      <a:pt x="564" y="628"/>
                    </a:cubicBezTo>
                    <a:cubicBezTo>
                      <a:pt x="564" y="651"/>
                      <a:pt x="564" y="651"/>
                      <a:pt x="564" y="651"/>
                    </a:cubicBezTo>
                    <a:close/>
                    <a:moveTo>
                      <a:pt x="635" y="536"/>
                    </a:moveTo>
                    <a:cubicBezTo>
                      <a:pt x="590" y="536"/>
                      <a:pt x="590" y="536"/>
                      <a:pt x="590" y="536"/>
                    </a:cubicBezTo>
                    <a:cubicBezTo>
                      <a:pt x="564" y="536"/>
                      <a:pt x="564" y="536"/>
                      <a:pt x="564" y="536"/>
                    </a:cubicBezTo>
                    <a:cubicBezTo>
                      <a:pt x="420" y="536"/>
                      <a:pt x="420" y="536"/>
                      <a:pt x="420" y="536"/>
                    </a:cubicBezTo>
                    <a:cubicBezTo>
                      <a:pt x="394" y="536"/>
                      <a:pt x="394" y="536"/>
                      <a:pt x="394" y="536"/>
                    </a:cubicBezTo>
                    <a:cubicBezTo>
                      <a:pt x="250" y="536"/>
                      <a:pt x="250" y="536"/>
                      <a:pt x="250" y="536"/>
                    </a:cubicBezTo>
                    <a:cubicBezTo>
                      <a:pt x="224" y="536"/>
                      <a:pt x="224" y="536"/>
                      <a:pt x="224" y="536"/>
                    </a:cubicBezTo>
                    <a:cubicBezTo>
                      <a:pt x="185" y="536"/>
                      <a:pt x="185" y="536"/>
                      <a:pt x="185" y="536"/>
                    </a:cubicBezTo>
                    <a:cubicBezTo>
                      <a:pt x="178" y="536"/>
                      <a:pt x="172" y="542"/>
                      <a:pt x="172" y="549"/>
                    </a:cubicBezTo>
                    <a:cubicBezTo>
                      <a:pt x="172" y="588"/>
                      <a:pt x="172" y="588"/>
                      <a:pt x="172" y="588"/>
                    </a:cubicBezTo>
                    <a:cubicBezTo>
                      <a:pt x="172" y="595"/>
                      <a:pt x="178" y="601"/>
                      <a:pt x="185" y="601"/>
                    </a:cubicBezTo>
                    <a:cubicBezTo>
                      <a:pt x="224" y="601"/>
                      <a:pt x="224" y="601"/>
                      <a:pt x="224" y="601"/>
                    </a:cubicBezTo>
                    <a:cubicBezTo>
                      <a:pt x="250" y="601"/>
                      <a:pt x="250" y="601"/>
                      <a:pt x="250" y="601"/>
                    </a:cubicBezTo>
                    <a:cubicBezTo>
                      <a:pt x="394" y="601"/>
                      <a:pt x="394" y="601"/>
                      <a:pt x="394" y="601"/>
                    </a:cubicBezTo>
                    <a:cubicBezTo>
                      <a:pt x="420" y="601"/>
                      <a:pt x="420" y="601"/>
                      <a:pt x="420" y="601"/>
                    </a:cubicBezTo>
                    <a:cubicBezTo>
                      <a:pt x="564" y="601"/>
                      <a:pt x="564" y="601"/>
                      <a:pt x="564" y="601"/>
                    </a:cubicBezTo>
                    <a:cubicBezTo>
                      <a:pt x="590" y="601"/>
                      <a:pt x="590" y="601"/>
                      <a:pt x="590" y="601"/>
                    </a:cubicBezTo>
                    <a:cubicBezTo>
                      <a:pt x="635" y="601"/>
                      <a:pt x="635" y="601"/>
                      <a:pt x="635" y="601"/>
                    </a:cubicBezTo>
                    <a:cubicBezTo>
                      <a:pt x="642" y="601"/>
                      <a:pt x="648" y="595"/>
                      <a:pt x="648" y="588"/>
                    </a:cubicBezTo>
                    <a:cubicBezTo>
                      <a:pt x="648" y="549"/>
                      <a:pt x="648" y="549"/>
                      <a:pt x="648" y="549"/>
                    </a:cubicBezTo>
                    <a:cubicBezTo>
                      <a:pt x="648" y="542"/>
                      <a:pt x="642" y="536"/>
                      <a:pt x="635" y="536"/>
                    </a:cubicBezTo>
                    <a:close/>
                    <a:moveTo>
                      <a:pt x="419" y="471"/>
                    </a:moveTo>
                    <a:cubicBezTo>
                      <a:pt x="393" y="471"/>
                      <a:pt x="393" y="471"/>
                      <a:pt x="393" y="471"/>
                    </a:cubicBezTo>
                    <a:cubicBezTo>
                      <a:pt x="393" y="511"/>
                      <a:pt x="393" y="511"/>
                      <a:pt x="393" y="511"/>
                    </a:cubicBezTo>
                    <a:cubicBezTo>
                      <a:pt x="419" y="511"/>
                      <a:pt x="419" y="511"/>
                      <a:pt x="419" y="511"/>
                    </a:cubicBezTo>
                    <a:lnTo>
                      <a:pt x="419" y="471"/>
                    </a:lnTo>
                    <a:close/>
                    <a:moveTo>
                      <a:pt x="590" y="471"/>
                    </a:moveTo>
                    <a:cubicBezTo>
                      <a:pt x="564" y="471"/>
                      <a:pt x="564" y="471"/>
                      <a:pt x="564" y="471"/>
                    </a:cubicBezTo>
                    <a:cubicBezTo>
                      <a:pt x="564" y="511"/>
                      <a:pt x="564" y="511"/>
                      <a:pt x="564" y="511"/>
                    </a:cubicBezTo>
                    <a:cubicBezTo>
                      <a:pt x="590" y="511"/>
                      <a:pt x="590" y="511"/>
                      <a:pt x="590" y="511"/>
                    </a:cubicBezTo>
                    <a:lnTo>
                      <a:pt x="590" y="471"/>
                    </a:lnTo>
                    <a:close/>
                    <a:moveTo>
                      <a:pt x="649" y="381"/>
                    </a:moveTo>
                    <a:cubicBezTo>
                      <a:pt x="590" y="381"/>
                      <a:pt x="590" y="381"/>
                      <a:pt x="590" y="381"/>
                    </a:cubicBezTo>
                    <a:cubicBezTo>
                      <a:pt x="564" y="381"/>
                      <a:pt x="564" y="381"/>
                      <a:pt x="564" y="381"/>
                    </a:cubicBezTo>
                    <a:cubicBezTo>
                      <a:pt x="420" y="381"/>
                      <a:pt x="420" y="381"/>
                      <a:pt x="420" y="381"/>
                    </a:cubicBezTo>
                    <a:cubicBezTo>
                      <a:pt x="394" y="381"/>
                      <a:pt x="394" y="381"/>
                      <a:pt x="394" y="381"/>
                    </a:cubicBezTo>
                    <a:cubicBezTo>
                      <a:pt x="324" y="381"/>
                      <a:pt x="324" y="381"/>
                      <a:pt x="324" y="381"/>
                    </a:cubicBezTo>
                    <a:cubicBezTo>
                      <a:pt x="317" y="381"/>
                      <a:pt x="312" y="387"/>
                      <a:pt x="312" y="394"/>
                    </a:cubicBezTo>
                    <a:cubicBezTo>
                      <a:pt x="312" y="433"/>
                      <a:pt x="312" y="433"/>
                      <a:pt x="312" y="433"/>
                    </a:cubicBezTo>
                    <a:cubicBezTo>
                      <a:pt x="312" y="441"/>
                      <a:pt x="317" y="446"/>
                      <a:pt x="324" y="446"/>
                    </a:cubicBezTo>
                    <a:cubicBezTo>
                      <a:pt x="394" y="446"/>
                      <a:pt x="394" y="446"/>
                      <a:pt x="394" y="446"/>
                    </a:cubicBezTo>
                    <a:cubicBezTo>
                      <a:pt x="420" y="446"/>
                      <a:pt x="420" y="446"/>
                      <a:pt x="420" y="446"/>
                    </a:cubicBezTo>
                    <a:cubicBezTo>
                      <a:pt x="564" y="446"/>
                      <a:pt x="564" y="446"/>
                      <a:pt x="564" y="446"/>
                    </a:cubicBezTo>
                    <a:cubicBezTo>
                      <a:pt x="590" y="446"/>
                      <a:pt x="590" y="446"/>
                      <a:pt x="590" y="446"/>
                    </a:cubicBezTo>
                    <a:cubicBezTo>
                      <a:pt x="649" y="446"/>
                      <a:pt x="649" y="446"/>
                      <a:pt x="649" y="446"/>
                    </a:cubicBezTo>
                    <a:cubicBezTo>
                      <a:pt x="657" y="446"/>
                      <a:pt x="662" y="441"/>
                      <a:pt x="662" y="433"/>
                    </a:cubicBezTo>
                    <a:cubicBezTo>
                      <a:pt x="662" y="394"/>
                      <a:pt x="662" y="394"/>
                      <a:pt x="662" y="394"/>
                    </a:cubicBezTo>
                    <a:cubicBezTo>
                      <a:pt x="662" y="387"/>
                      <a:pt x="657" y="381"/>
                      <a:pt x="649" y="381"/>
                    </a:cubicBezTo>
                    <a:close/>
                    <a:moveTo>
                      <a:pt x="747" y="0"/>
                    </a:moveTo>
                    <a:cubicBezTo>
                      <a:pt x="740" y="0"/>
                      <a:pt x="734" y="5"/>
                      <a:pt x="734" y="12"/>
                    </a:cubicBezTo>
                    <a:cubicBezTo>
                      <a:pt x="734" y="652"/>
                      <a:pt x="734" y="652"/>
                      <a:pt x="734" y="652"/>
                    </a:cubicBezTo>
                    <a:cubicBezTo>
                      <a:pt x="734" y="659"/>
                      <a:pt x="740" y="664"/>
                      <a:pt x="747" y="664"/>
                    </a:cubicBezTo>
                    <a:cubicBezTo>
                      <a:pt x="754" y="664"/>
                      <a:pt x="760" y="659"/>
                      <a:pt x="760" y="652"/>
                    </a:cubicBezTo>
                    <a:cubicBezTo>
                      <a:pt x="760" y="12"/>
                      <a:pt x="760" y="12"/>
                      <a:pt x="760" y="12"/>
                    </a:cubicBezTo>
                    <a:cubicBezTo>
                      <a:pt x="760" y="5"/>
                      <a:pt x="754" y="0"/>
                      <a:pt x="74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32" name="Picture 131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67C8CA4E-1CD6-4355-80EB-D0187E9A71F2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185" t="15393" r="-185" b="17573"/>
          <a:stretch/>
        </p:blipFill>
        <p:spPr>
          <a:xfrm>
            <a:off x="6215274" y="1747517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grpSp>
        <p:nvGrpSpPr>
          <p:cNvPr id="9234" name="Group 9233">
            <a:extLst>
              <a:ext uri="{FF2B5EF4-FFF2-40B4-BE49-F238E27FC236}">
                <a16:creationId xmlns:a16="http://schemas.microsoft.com/office/drawing/2014/main" id="{24052D52-354C-4306-9C76-27506365EAEA}"/>
              </a:ext>
            </a:extLst>
          </p:cNvPr>
          <p:cNvGrpSpPr/>
          <p:nvPr/>
        </p:nvGrpSpPr>
        <p:grpSpPr>
          <a:xfrm>
            <a:off x="137520" y="2807485"/>
            <a:ext cx="593658" cy="593658"/>
            <a:chOff x="4677853" y="4000839"/>
            <a:chExt cx="593658" cy="593658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E529A466-231B-4B33-89FA-10A74E9A6FC0}"/>
                </a:ext>
              </a:extLst>
            </p:cNvPr>
            <p:cNvSpPr/>
            <p:nvPr/>
          </p:nvSpPr>
          <p:spPr>
            <a:xfrm>
              <a:off x="4677853" y="4000839"/>
              <a:ext cx="593658" cy="59365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35" name="Freeform 7">
              <a:extLst>
                <a:ext uri="{FF2B5EF4-FFF2-40B4-BE49-F238E27FC236}">
                  <a16:creationId xmlns:a16="http://schemas.microsoft.com/office/drawing/2014/main" id="{33A0ECAE-3964-4E62-ADDA-09C77F5AB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532" y="4106976"/>
              <a:ext cx="370224" cy="380423"/>
            </a:xfrm>
            <a:custGeom>
              <a:avLst/>
              <a:gdLst>
                <a:gd name="T0" fmla="*/ 800 w 809"/>
                <a:gd name="T1" fmla="*/ 757 h 831"/>
                <a:gd name="T2" fmla="*/ 738 w 809"/>
                <a:gd name="T3" fmla="*/ 824 h 831"/>
                <a:gd name="T4" fmla="*/ 722 w 809"/>
                <a:gd name="T5" fmla="*/ 831 h 831"/>
                <a:gd name="T6" fmla="*/ 707 w 809"/>
                <a:gd name="T7" fmla="*/ 826 h 831"/>
                <a:gd name="T8" fmla="*/ 706 w 809"/>
                <a:gd name="T9" fmla="*/ 794 h 831"/>
                <a:gd name="T10" fmla="*/ 732 w 809"/>
                <a:gd name="T11" fmla="*/ 766 h 831"/>
                <a:gd name="T12" fmla="*/ 26 w 809"/>
                <a:gd name="T13" fmla="*/ 766 h 831"/>
                <a:gd name="T14" fmla="*/ 4 w 809"/>
                <a:gd name="T15" fmla="*/ 744 h 831"/>
                <a:gd name="T16" fmla="*/ 26 w 809"/>
                <a:gd name="T17" fmla="*/ 722 h 831"/>
                <a:gd name="T18" fmla="*/ 266 w 809"/>
                <a:gd name="T19" fmla="*/ 722 h 831"/>
                <a:gd name="T20" fmla="*/ 90 w 809"/>
                <a:gd name="T21" fmla="*/ 439 h 831"/>
                <a:gd name="T22" fmla="*/ 107 w 809"/>
                <a:gd name="T23" fmla="*/ 336 h 831"/>
                <a:gd name="T24" fmla="*/ 0 w 809"/>
                <a:gd name="T25" fmla="*/ 195 h 831"/>
                <a:gd name="T26" fmla="*/ 146 w 809"/>
                <a:gd name="T27" fmla="*/ 49 h 831"/>
                <a:gd name="T28" fmla="*/ 202 w 809"/>
                <a:gd name="T29" fmla="*/ 60 h 831"/>
                <a:gd name="T30" fmla="*/ 194 w 809"/>
                <a:gd name="T31" fmla="*/ 30 h 831"/>
                <a:gd name="T32" fmla="*/ 209 w 809"/>
                <a:gd name="T33" fmla="*/ 3 h 831"/>
                <a:gd name="T34" fmla="*/ 236 w 809"/>
                <a:gd name="T35" fmla="*/ 19 h 831"/>
                <a:gd name="T36" fmla="*/ 259 w 809"/>
                <a:gd name="T37" fmla="*/ 105 h 831"/>
                <a:gd name="T38" fmla="*/ 259 w 809"/>
                <a:gd name="T39" fmla="*/ 107 h 831"/>
                <a:gd name="T40" fmla="*/ 260 w 809"/>
                <a:gd name="T41" fmla="*/ 107 h 831"/>
                <a:gd name="T42" fmla="*/ 260 w 809"/>
                <a:gd name="T43" fmla="*/ 108 h 831"/>
                <a:gd name="T44" fmla="*/ 260 w 809"/>
                <a:gd name="T45" fmla="*/ 110 h 831"/>
                <a:gd name="T46" fmla="*/ 260 w 809"/>
                <a:gd name="T47" fmla="*/ 111 h 831"/>
                <a:gd name="T48" fmla="*/ 260 w 809"/>
                <a:gd name="T49" fmla="*/ 112 h 831"/>
                <a:gd name="T50" fmla="*/ 260 w 809"/>
                <a:gd name="T51" fmla="*/ 114 h 831"/>
                <a:gd name="T52" fmla="*/ 244 w 809"/>
                <a:gd name="T53" fmla="*/ 134 h 831"/>
                <a:gd name="T54" fmla="*/ 155 w 809"/>
                <a:gd name="T55" fmla="*/ 158 h 831"/>
                <a:gd name="T56" fmla="*/ 150 w 809"/>
                <a:gd name="T57" fmla="*/ 159 h 831"/>
                <a:gd name="T58" fmla="*/ 128 w 809"/>
                <a:gd name="T59" fmla="*/ 142 h 831"/>
                <a:gd name="T60" fmla="*/ 144 w 809"/>
                <a:gd name="T61" fmla="*/ 115 h 831"/>
                <a:gd name="T62" fmla="*/ 190 w 809"/>
                <a:gd name="T63" fmla="*/ 103 h 831"/>
                <a:gd name="T64" fmla="*/ 146 w 809"/>
                <a:gd name="T65" fmla="*/ 93 h 831"/>
                <a:gd name="T66" fmla="*/ 44 w 809"/>
                <a:gd name="T67" fmla="*/ 195 h 831"/>
                <a:gd name="T68" fmla="*/ 125 w 809"/>
                <a:gd name="T69" fmla="*/ 295 h 831"/>
                <a:gd name="T70" fmla="*/ 406 w 809"/>
                <a:gd name="T71" fmla="*/ 123 h 831"/>
                <a:gd name="T72" fmla="*/ 723 w 809"/>
                <a:gd name="T73" fmla="*/ 439 h 831"/>
                <a:gd name="T74" fmla="*/ 548 w 809"/>
                <a:gd name="T75" fmla="*/ 722 h 831"/>
                <a:gd name="T76" fmla="*/ 730 w 809"/>
                <a:gd name="T77" fmla="*/ 722 h 831"/>
                <a:gd name="T78" fmla="*/ 702 w 809"/>
                <a:gd name="T79" fmla="*/ 696 h 831"/>
                <a:gd name="T80" fmla="*/ 701 w 809"/>
                <a:gd name="T81" fmla="*/ 665 h 831"/>
                <a:gd name="T82" fmla="*/ 732 w 809"/>
                <a:gd name="T83" fmla="*/ 664 h 831"/>
                <a:gd name="T84" fmla="*/ 799 w 809"/>
                <a:gd name="T85" fmla="*/ 726 h 831"/>
                <a:gd name="T86" fmla="*/ 800 w 809"/>
                <a:gd name="T87" fmla="*/ 757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09" h="831">
                  <a:moveTo>
                    <a:pt x="800" y="757"/>
                  </a:moveTo>
                  <a:cubicBezTo>
                    <a:pt x="738" y="824"/>
                    <a:pt x="738" y="824"/>
                    <a:pt x="738" y="824"/>
                  </a:cubicBezTo>
                  <a:cubicBezTo>
                    <a:pt x="733" y="829"/>
                    <a:pt x="728" y="831"/>
                    <a:pt x="722" y="831"/>
                  </a:cubicBezTo>
                  <a:cubicBezTo>
                    <a:pt x="716" y="831"/>
                    <a:pt x="711" y="829"/>
                    <a:pt x="707" y="826"/>
                  </a:cubicBezTo>
                  <a:cubicBezTo>
                    <a:pt x="698" y="817"/>
                    <a:pt x="697" y="803"/>
                    <a:pt x="706" y="794"/>
                  </a:cubicBezTo>
                  <a:cubicBezTo>
                    <a:pt x="732" y="766"/>
                    <a:pt x="732" y="766"/>
                    <a:pt x="732" y="766"/>
                  </a:cubicBezTo>
                  <a:cubicBezTo>
                    <a:pt x="26" y="766"/>
                    <a:pt x="26" y="766"/>
                    <a:pt x="26" y="766"/>
                  </a:cubicBezTo>
                  <a:cubicBezTo>
                    <a:pt x="14" y="766"/>
                    <a:pt x="4" y="756"/>
                    <a:pt x="4" y="744"/>
                  </a:cubicBezTo>
                  <a:cubicBezTo>
                    <a:pt x="4" y="732"/>
                    <a:pt x="14" y="722"/>
                    <a:pt x="26" y="722"/>
                  </a:cubicBezTo>
                  <a:cubicBezTo>
                    <a:pt x="266" y="722"/>
                    <a:pt x="266" y="722"/>
                    <a:pt x="266" y="722"/>
                  </a:cubicBezTo>
                  <a:cubicBezTo>
                    <a:pt x="162" y="670"/>
                    <a:pt x="90" y="563"/>
                    <a:pt x="90" y="439"/>
                  </a:cubicBezTo>
                  <a:cubicBezTo>
                    <a:pt x="90" y="403"/>
                    <a:pt x="96" y="368"/>
                    <a:pt x="107" y="336"/>
                  </a:cubicBezTo>
                  <a:cubicBezTo>
                    <a:pt x="45" y="319"/>
                    <a:pt x="0" y="263"/>
                    <a:pt x="0" y="195"/>
                  </a:cubicBezTo>
                  <a:cubicBezTo>
                    <a:pt x="0" y="115"/>
                    <a:pt x="65" y="49"/>
                    <a:pt x="146" y="49"/>
                  </a:cubicBezTo>
                  <a:cubicBezTo>
                    <a:pt x="165" y="49"/>
                    <a:pt x="184" y="53"/>
                    <a:pt x="202" y="6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90" y="18"/>
                    <a:pt x="197" y="6"/>
                    <a:pt x="209" y="3"/>
                  </a:cubicBezTo>
                  <a:cubicBezTo>
                    <a:pt x="221" y="0"/>
                    <a:pt x="233" y="7"/>
                    <a:pt x="236" y="19"/>
                  </a:cubicBezTo>
                  <a:cubicBezTo>
                    <a:pt x="259" y="105"/>
                    <a:pt x="259" y="105"/>
                    <a:pt x="259" y="105"/>
                  </a:cubicBezTo>
                  <a:cubicBezTo>
                    <a:pt x="259" y="107"/>
                    <a:pt x="259" y="107"/>
                    <a:pt x="259" y="107"/>
                  </a:cubicBezTo>
                  <a:cubicBezTo>
                    <a:pt x="260" y="107"/>
                    <a:pt x="260" y="107"/>
                    <a:pt x="260" y="107"/>
                  </a:cubicBezTo>
                  <a:cubicBezTo>
                    <a:pt x="260" y="108"/>
                    <a:pt x="260" y="108"/>
                    <a:pt x="260" y="108"/>
                  </a:cubicBezTo>
                  <a:cubicBezTo>
                    <a:pt x="260" y="109"/>
                    <a:pt x="260" y="109"/>
                    <a:pt x="260" y="110"/>
                  </a:cubicBezTo>
                  <a:cubicBezTo>
                    <a:pt x="260" y="110"/>
                    <a:pt x="260" y="110"/>
                    <a:pt x="260" y="111"/>
                  </a:cubicBezTo>
                  <a:cubicBezTo>
                    <a:pt x="260" y="111"/>
                    <a:pt x="260" y="111"/>
                    <a:pt x="260" y="112"/>
                  </a:cubicBezTo>
                  <a:cubicBezTo>
                    <a:pt x="260" y="113"/>
                    <a:pt x="260" y="113"/>
                    <a:pt x="260" y="114"/>
                  </a:cubicBezTo>
                  <a:cubicBezTo>
                    <a:pt x="260" y="123"/>
                    <a:pt x="254" y="132"/>
                    <a:pt x="244" y="134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58"/>
                    <a:pt x="152" y="159"/>
                    <a:pt x="150" y="159"/>
                  </a:cubicBezTo>
                  <a:cubicBezTo>
                    <a:pt x="140" y="159"/>
                    <a:pt x="131" y="152"/>
                    <a:pt x="128" y="142"/>
                  </a:cubicBezTo>
                  <a:cubicBezTo>
                    <a:pt x="125" y="131"/>
                    <a:pt x="132" y="119"/>
                    <a:pt x="144" y="115"/>
                  </a:cubicBezTo>
                  <a:cubicBezTo>
                    <a:pt x="190" y="103"/>
                    <a:pt x="190" y="103"/>
                    <a:pt x="190" y="103"/>
                  </a:cubicBezTo>
                  <a:cubicBezTo>
                    <a:pt x="176" y="97"/>
                    <a:pt x="161" y="93"/>
                    <a:pt x="146" y="93"/>
                  </a:cubicBezTo>
                  <a:cubicBezTo>
                    <a:pt x="90" y="93"/>
                    <a:pt x="44" y="139"/>
                    <a:pt x="44" y="195"/>
                  </a:cubicBezTo>
                  <a:cubicBezTo>
                    <a:pt x="44" y="244"/>
                    <a:pt x="79" y="286"/>
                    <a:pt x="125" y="295"/>
                  </a:cubicBezTo>
                  <a:cubicBezTo>
                    <a:pt x="177" y="193"/>
                    <a:pt x="284" y="123"/>
                    <a:pt x="406" y="123"/>
                  </a:cubicBezTo>
                  <a:cubicBezTo>
                    <a:pt x="581" y="123"/>
                    <a:pt x="723" y="264"/>
                    <a:pt x="723" y="439"/>
                  </a:cubicBezTo>
                  <a:cubicBezTo>
                    <a:pt x="723" y="563"/>
                    <a:pt x="652" y="670"/>
                    <a:pt x="548" y="722"/>
                  </a:cubicBezTo>
                  <a:cubicBezTo>
                    <a:pt x="730" y="722"/>
                    <a:pt x="730" y="722"/>
                    <a:pt x="730" y="722"/>
                  </a:cubicBezTo>
                  <a:cubicBezTo>
                    <a:pt x="702" y="696"/>
                    <a:pt x="702" y="696"/>
                    <a:pt x="702" y="696"/>
                  </a:cubicBezTo>
                  <a:cubicBezTo>
                    <a:pt x="693" y="688"/>
                    <a:pt x="693" y="674"/>
                    <a:pt x="701" y="665"/>
                  </a:cubicBezTo>
                  <a:cubicBezTo>
                    <a:pt x="709" y="656"/>
                    <a:pt x="723" y="656"/>
                    <a:pt x="732" y="664"/>
                  </a:cubicBezTo>
                  <a:cubicBezTo>
                    <a:pt x="799" y="726"/>
                    <a:pt x="799" y="726"/>
                    <a:pt x="799" y="726"/>
                  </a:cubicBezTo>
                  <a:cubicBezTo>
                    <a:pt x="808" y="735"/>
                    <a:pt x="809" y="749"/>
                    <a:pt x="800" y="7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226" name="Group 9225">
            <a:extLst>
              <a:ext uri="{FF2B5EF4-FFF2-40B4-BE49-F238E27FC236}">
                <a16:creationId xmlns:a16="http://schemas.microsoft.com/office/drawing/2014/main" id="{EFC82699-A41B-4DE0-8C3E-CA286D745E05}"/>
              </a:ext>
            </a:extLst>
          </p:cNvPr>
          <p:cNvGrpSpPr/>
          <p:nvPr/>
        </p:nvGrpSpPr>
        <p:grpSpPr>
          <a:xfrm>
            <a:off x="5852359" y="1244250"/>
            <a:ext cx="593658" cy="593658"/>
            <a:chOff x="1330062" y="2946144"/>
            <a:chExt cx="593658" cy="593658"/>
          </a:xfrm>
        </p:grpSpPr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EF205465-A103-4053-B25D-FF28F6715687}"/>
                </a:ext>
              </a:extLst>
            </p:cNvPr>
            <p:cNvGrpSpPr/>
            <p:nvPr/>
          </p:nvGrpSpPr>
          <p:grpSpPr>
            <a:xfrm>
              <a:off x="1330062" y="2946144"/>
              <a:ext cx="593658" cy="593658"/>
              <a:chOff x="150564" y="2754538"/>
              <a:chExt cx="1222428" cy="1222428"/>
            </a:xfrm>
          </p:grpSpPr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ADC646A9-E80B-4078-B57E-C01987988A3A}"/>
                  </a:ext>
                </a:extLst>
              </p:cNvPr>
              <p:cNvSpPr/>
              <p:nvPr/>
            </p:nvSpPr>
            <p:spPr>
              <a:xfrm>
                <a:off x="150564" y="2754538"/>
                <a:ext cx="1222428" cy="1222428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140" name="AutoShape 13">
                <a:extLst>
                  <a:ext uri="{FF2B5EF4-FFF2-40B4-BE49-F238E27FC236}">
                    <a16:creationId xmlns:a16="http://schemas.microsoft.com/office/drawing/2014/main" id="{2288D3A8-D0E8-44D5-A290-6C2C420FD31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75941" y="2879915"/>
                <a:ext cx="971671" cy="9716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7EE68F9B-1F9E-4C45-8454-B84A000BF8B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98291" y="3014373"/>
              <a:ext cx="457200" cy="457200"/>
              <a:chOff x="7324948" y="3200401"/>
              <a:chExt cx="457200" cy="457200"/>
            </a:xfrm>
          </p:grpSpPr>
          <p:sp>
            <p:nvSpPr>
              <p:cNvPr id="143" name="AutoShape 7">
                <a:extLst>
                  <a:ext uri="{FF2B5EF4-FFF2-40B4-BE49-F238E27FC236}">
                    <a16:creationId xmlns:a16="http://schemas.microsoft.com/office/drawing/2014/main" id="{1FC8F7D9-6ACB-4578-A2FD-B49A1B7BDD0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324948" y="3200401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9">
                <a:extLst>
                  <a:ext uri="{FF2B5EF4-FFF2-40B4-BE49-F238E27FC236}">
                    <a16:creationId xmlns:a16="http://schemas.microsoft.com/office/drawing/2014/main" id="{11EC9F36-7020-4B0E-AC14-8E11CD681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3427" y="3296998"/>
                <a:ext cx="400820" cy="266700"/>
              </a:xfrm>
              <a:custGeom>
                <a:avLst/>
                <a:gdLst>
                  <a:gd name="T0" fmla="*/ 721 w 876"/>
                  <a:gd name="T1" fmla="*/ 165 h 583"/>
                  <a:gd name="T2" fmla="*/ 709 w 876"/>
                  <a:gd name="T3" fmla="*/ 211 h 583"/>
                  <a:gd name="T4" fmla="*/ 708 w 876"/>
                  <a:gd name="T5" fmla="*/ 214 h 583"/>
                  <a:gd name="T6" fmla="*/ 605 w 876"/>
                  <a:gd name="T7" fmla="*/ 214 h 583"/>
                  <a:gd name="T8" fmla="*/ 605 w 876"/>
                  <a:gd name="T9" fmla="*/ 148 h 583"/>
                  <a:gd name="T10" fmla="*/ 534 w 876"/>
                  <a:gd name="T11" fmla="*/ 126 h 583"/>
                  <a:gd name="T12" fmla="*/ 533 w 876"/>
                  <a:gd name="T13" fmla="*/ 124 h 583"/>
                  <a:gd name="T14" fmla="*/ 529 w 876"/>
                  <a:gd name="T15" fmla="*/ 101 h 583"/>
                  <a:gd name="T16" fmla="*/ 516 w 876"/>
                  <a:gd name="T17" fmla="*/ 14 h 583"/>
                  <a:gd name="T18" fmla="*/ 158 w 876"/>
                  <a:gd name="T19" fmla="*/ 0 h 583"/>
                  <a:gd name="T20" fmla="*/ 113 w 876"/>
                  <a:gd name="T21" fmla="*/ 44 h 583"/>
                  <a:gd name="T22" fmla="*/ 158 w 876"/>
                  <a:gd name="T23" fmla="*/ 90 h 583"/>
                  <a:gd name="T24" fmla="*/ 435 w 876"/>
                  <a:gd name="T25" fmla="*/ 97 h 583"/>
                  <a:gd name="T26" fmla="*/ 445 w 876"/>
                  <a:gd name="T27" fmla="*/ 120 h 583"/>
                  <a:gd name="T28" fmla="*/ 441 w 876"/>
                  <a:gd name="T29" fmla="*/ 126 h 583"/>
                  <a:gd name="T30" fmla="*/ 32 w 876"/>
                  <a:gd name="T31" fmla="*/ 126 h 583"/>
                  <a:gd name="T32" fmla="*/ 0 w 876"/>
                  <a:gd name="T33" fmla="*/ 158 h 583"/>
                  <a:gd name="T34" fmla="*/ 9 w 876"/>
                  <a:gd name="T35" fmla="*/ 544 h 583"/>
                  <a:gd name="T36" fmla="*/ 583 w 876"/>
                  <a:gd name="T37" fmla="*/ 554 h 583"/>
                  <a:gd name="T38" fmla="*/ 605 w 876"/>
                  <a:gd name="T39" fmla="*/ 467 h 583"/>
                  <a:gd name="T40" fmla="*/ 607 w 876"/>
                  <a:gd name="T41" fmla="*/ 466 h 583"/>
                  <a:gd name="T42" fmla="*/ 709 w 876"/>
                  <a:gd name="T43" fmla="*/ 466 h 583"/>
                  <a:gd name="T44" fmla="*/ 709 w 876"/>
                  <a:gd name="T45" fmla="*/ 496 h 583"/>
                  <a:gd name="T46" fmla="*/ 845 w 876"/>
                  <a:gd name="T47" fmla="*/ 576 h 583"/>
                  <a:gd name="T48" fmla="*/ 876 w 876"/>
                  <a:gd name="T49" fmla="*/ 123 h 583"/>
                  <a:gd name="T50" fmla="*/ 527 w 876"/>
                  <a:gd name="T51" fmla="*/ 477 h 583"/>
                  <a:gd name="T52" fmla="*/ 527 w 876"/>
                  <a:gd name="T53" fmla="*/ 507 h 583"/>
                  <a:gd name="T54" fmla="*/ 57 w 876"/>
                  <a:gd name="T55" fmla="*/ 507 h 583"/>
                  <a:gd name="T56" fmla="*/ 54 w 876"/>
                  <a:gd name="T57" fmla="*/ 505 h 583"/>
                  <a:gd name="T58" fmla="*/ 54 w 876"/>
                  <a:gd name="T59" fmla="*/ 476 h 583"/>
                  <a:gd name="T60" fmla="*/ 525 w 876"/>
                  <a:gd name="T61" fmla="*/ 476 h 583"/>
                  <a:gd name="T62" fmla="*/ 527 w 876"/>
                  <a:gd name="T63" fmla="*/ 477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76" h="583">
                    <a:moveTo>
                      <a:pt x="845" y="104"/>
                    </a:moveTo>
                    <a:cubicBezTo>
                      <a:pt x="721" y="165"/>
                      <a:pt x="721" y="165"/>
                      <a:pt x="721" y="165"/>
                    </a:cubicBezTo>
                    <a:cubicBezTo>
                      <a:pt x="714" y="168"/>
                      <a:pt x="709" y="176"/>
                      <a:pt x="709" y="184"/>
                    </a:cubicBezTo>
                    <a:cubicBezTo>
                      <a:pt x="709" y="211"/>
                      <a:pt x="709" y="211"/>
                      <a:pt x="709" y="211"/>
                    </a:cubicBezTo>
                    <a:cubicBezTo>
                      <a:pt x="709" y="214"/>
                      <a:pt x="709" y="214"/>
                      <a:pt x="709" y="214"/>
                    </a:cubicBezTo>
                    <a:cubicBezTo>
                      <a:pt x="708" y="214"/>
                      <a:pt x="708" y="214"/>
                      <a:pt x="708" y="214"/>
                    </a:cubicBezTo>
                    <a:cubicBezTo>
                      <a:pt x="607" y="214"/>
                      <a:pt x="607" y="214"/>
                      <a:pt x="607" y="214"/>
                    </a:cubicBezTo>
                    <a:cubicBezTo>
                      <a:pt x="605" y="214"/>
                      <a:pt x="605" y="214"/>
                      <a:pt x="605" y="214"/>
                    </a:cubicBezTo>
                    <a:cubicBezTo>
                      <a:pt x="605" y="211"/>
                      <a:pt x="605" y="211"/>
                      <a:pt x="605" y="211"/>
                    </a:cubicBezTo>
                    <a:cubicBezTo>
                      <a:pt x="605" y="148"/>
                      <a:pt x="605" y="148"/>
                      <a:pt x="605" y="148"/>
                    </a:cubicBezTo>
                    <a:cubicBezTo>
                      <a:pt x="605" y="136"/>
                      <a:pt x="595" y="126"/>
                      <a:pt x="583" y="126"/>
                    </a:cubicBezTo>
                    <a:cubicBezTo>
                      <a:pt x="534" y="126"/>
                      <a:pt x="534" y="126"/>
                      <a:pt x="534" y="126"/>
                    </a:cubicBezTo>
                    <a:cubicBezTo>
                      <a:pt x="533" y="126"/>
                      <a:pt x="533" y="126"/>
                      <a:pt x="533" y="126"/>
                    </a:cubicBezTo>
                    <a:cubicBezTo>
                      <a:pt x="533" y="124"/>
                      <a:pt x="533" y="124"/>
                      <a:pt x="533" y="124"/>
                    </a:cubicBezTo>
                    <a:cubicBezTo>
                      <a:pt x="531" y="121"/>
                      <a:pt x="530" y="118"/>
                      <a:pt x="530" y="114"/>
                    </a:cubicBezTo>
                    <a:cubicBezTo>
                      <a:pt x="530" y="109"/>
                      <a:pt x="529" y="106"/>
                      <a:pt x="529" y="101"/>
                    </a:cubicBezTo>
                    <a:cubicBezTo>
                      <a:pt x="529" y="48"/>
                      <a:pt x="529" y="48"/>
                      <a:pt x="529" y="48"/>
                    </a:cubicBezTo>
                    <a:cubicBezTo>
                      <a:pt x="529" y="35"/>
                      <a:pt x="525" y="22"/>
                      <a:pt x="516" y="14"/>
                    </a:cubicBezTo>
                    <a:cubicBezTo>
                      <a:pt x="509" y="5"/>
                      <a:pt x="500" y="0"/>
                      <a:pt x="487" y="0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45" y="0"/>
                      <a:pt x="135" y="5"/>
                      <a:pt x="127" y="12"/>
                    </a:cubicBezTo>
                    <a:cubicBezTo>
                      <a:pt x="119" y="21"/>
                      <a:pt x="113" y="33"/>
                      <a:pt x="113" y="44"/>
                    </a:cubicBezTo>
                    <a:cubicBezTo>
                      <a:pt x="113" y="57"/>
                      <a:pt x="119" y="68"/>
                      <a:pt x="127" y="76"/>
                    </a:cubicBezTo>
                    <a:cubicBezTo>
                      <a:pt x="135" y="85"/>
                      <a:pt x="145" y="90"/>
                      <a:pt x="158" y="90"/>
                    </a:cubicBezTo>
                    <a:cubicBezTo>
                      <a:pt x="411" y="90"/>
                      <a:pt x="411" y="90"/>
                      <a:pt x="411" y="90"/>
                    </a:cubicBezTo>
                    <a:cubicBezTo>
                      <a:pt x="420" y="90"/>
                      <a:pt x="428" y="92"/>
                      <a:pt x="435" y="97"/>
                    </a:cubicBezTo>
                    <a:cubicBezTo>
                      <a:pt x="441" y="101"/>
                      <a:pt x="445" y="108"/>
                      <a:pt x="445" y="115"/>
                    </a:cubicBezTo>
                    <a:cubicBezTo>
                      <a:pt x="445" y="116"/>
                      <a:pt x="445" y="119"/>
                      <a:pt x="445" y="120"/>
                    </a:cubicBezTo>
                    <a:cubicBezTo>
                      <a:pt x="444" y="121"/>
                      <a:pt x="444" y="124"/>
                      <a:pt x="443" y="125"/>
                    </a:cubicBezTo>
                    <a:cubicBezTo>
                      <a:pt x="441" y="126"/>
                      <a:pt x="441" y="126"/>
                      <a:pt x="441" y="126"/>
                    </a:cubicBezTo>
                    <a:cubicBezTo>
                      <a:pt x="440" y="126"/>
                      <a:pt x="440" y="126"/>
                      <a:pt x="440" y="126"/>
                    </a:cubicBezTo>
                    <a:cubicBezTo>
                      <a:pt x="32" y="126"/>
                      <a:pt x="32" y="126"/>
                      <a:pt x="32" y="126"/>
                    </a:cubicBezTo>
                    <a:cubicBezTo>
                      <a:pt x="22" y="126"/>
                      <a:pt x="14" y="129"/>
                      <a:pt x="9" y="136"/>
                    </a:cubicBezTo>
                    <a:cubicBezTo>
                      <a:pt x="4" y="141"/>
                      <a:pt x="0" y="149"/>
                      <a:pt x="0" y="158"/>
                    </a:cubicBezTo>
                    <a:cubicBezTo>
                      <a:pt x="0" y="522"/>
                      <a:pt x="0" y="522"/>
                      <a:pt x="0" y="522"/>
                    </a:cubicBezTo>
                    <a:cubicBezTo>
                      <a:pt x="0" y="532"/>
                      <a:pt x="4" y="538"/>
                      <a:pt x="9" y="544"/>
                    </a:cubicBezTo>
                    <a:cubicBezTo>
                      <a:pt x="14" y="549"/>
                      <a:pt x="21" y="554"/>
                      <a:pt x="30" y="554"/>
                    </a:cubicBezTo>
                    <a:cubicBezTo>
                      <a:pt x="583" y="554"/>
                      <a:pt x="583" y="554"/>
                      <a:pt x="583" y="554"/>
                    </a:cubicBezTo>
                    <a:cubicBezTo>
                      <a:pt x="595" y="554"/>
                      <a:pt x="605" y="544"/>
                      <a:pt x="605" y="532"/>
                    </a:cubicBezTo>
                    <a:cubicBezTo>
                      <a:pt x="605" y="467"/>
                      <a:pt x="605" y="467"/>
                      <a:pt x="605" y="467"/>
                    </a:cubicBezTo>
                    <a:cubicBezTo>
                      <a:pt x="605" y="466"/>
                      <a:pt x="605" y="466"/>
                      <a:pt x="605" y="466"/>
                    </a:cubicBezTo>
                    <a:cubicBezTo>
                      <a:pt x="607" y="466"/>
                      <a:pt x="607" y="466"/>
                      <a:pt x="607" y="466"/>
                    </a:cubicBezTo>
                    <a:cubicBezTo>
                      <a:pt x="708" y="466"/>
                      <a:pt x="708" y="466"/>
                      <a:pt x="708" y="466"/>
                    </a:cubicBezTo>
                    <a:cubicBezTo>
                      <a:pt x="709" y="466"/>
                      <a:pt x="709" y="466"/>
                      <a:pt x="709" y="466"/>
                    </a:cubicBezTo>
                    <a:cubicBezTo>
                      <a:pt x="709" y="467"/>
                      <a:pt x="709" y="467"/>
                      <a:pt x="709" y="467"/>
                    </a:cubicBezTo>
                    <a:cubicBezTo>
                      <a:pt x="709" y="496"/>
                      <a:pt x="709" y="496"/>
                      <a:pt x="709" y="496"/>
                    </a:cubicBezTo>
                    <a:cubicBezTo>
                      <a:pt x="709" y="504"/>
                      <a:pt x="714" y="512"/>
                      <a:pt x="721" y="516"/>
                    </a:cubicBezTo>
                    <a:cubicBezTo>
                      <a:pt x="845" y="576"/>
                      <a:pt x="845" y="576"/>
                      <a:pt x="845" y="576"/>
                    </a:cubicBezTo>
                    <a:cubicBezTo>
                      <a:pt x="859" y="583"/>
                      <a:pt x="876" y="573"/>
                      <a:pt x="876" y="556"/>
                    </a:cubicBezTo>
                    <a:cubicBezTo>
                      <a:pt x="876" y="123"/>
                      <a:pt x="876" y="123"/>
                      <a:pt x="876" y="123"/>
                    </a:cubicBezTo>
                    <a:cubicBezTo>
                      <a:pt x="876" y="107"/>
                      <a:pt x="859" y="97"/>
                      <a:pt x="845" y="104"/>
                    </a:cubicBezTo>
                    <a:close/>
                    <a:moveTo>
                      <a:pt x="527" y="477"/>
                    </a:moveTo>
                    <a:cubicBezTo>
                      <a:pt x="527" y="505"/>
                      <a:pt x="527" y="505"/>
                      <a:pt x="527" y="505"/>
                    </a:cubicBezTo>
                    <a:cubicBezTo>
                      <a:pt x="527" y="507"/>
                      <a:pt x="527" y="507"/>
                      <a:pt x="527" y="507"/>
                    </a:cubicBezTo>
                    <a:cubicBezTo>
                      <a:pt x="525" y="507"/>
                      <a:pt x="525" y="507"/>
                      <a:pt x="525" y="507"/>
                    </a:cubicBezTo>
                    <a:cubicBezTo>
                      <a:pt x="57" y="507"/>
                      <a:pt x="57" y="507"/>
                      <a:pt x="57" y="507"/>
                    </a:cubicBezTo>
                    <a:cubicBezTo>
                      <a:pt x="54" y="507"/>
                      <a:pt x="54" y="507"/>
                      <a:pt x="54" y="507"/>
                    </a:cubicBezTo>
                    <a:cubicBezTo>
                      <a:pt x="54" y="505"/>
                      <a:pt x="54" y="505"/>
                      <a:pt x="54" y="505"/>
                    </a:cubicBezTo>
                    <a:cubicBezTo>
                      <a:pt x="54" y="477"/>
                      <a:pt x="54" y="477"/>
                      <a:pt x="54" y="477"/>
                    </a:cubicBezTo>
                    <a:cubicBezTo>
                      <a:pt x="54" y="476"/>
                      <a:pt x="54" y="476"/>
                      <a:pt x="54" y="476"/>
                    </a:cubicBezTo>
                    <a:cubicBezTo>
                      <a:pt x="57" y="476"/>
                      <a:pt x="57" y="476"/>
                      <a:pt x="57" y="476"/>
                    </a:cubicBezTo>
                    <a:cubicBezTo>
                      <a:pt x="525" y="476"/>
                      <a:pt x="525" y="476"/>
                      <a:pt x="525" y="476"/>
                    </a:cubicBezTo>
                    <a:cubicBezTo>
                      <a:pt x="527" y="476"/>
                      <a:pt x="527" y="476"/>
                      <a:pt x="527" y="476"/>
                    </a:cubicBezTo>
                    <a:cubicBezTo>
                      <a:pt x="527" y="477"/>
                      <a:pt x="527" y="477"/>
                      <a:pt x="527" y="47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7" name="AutoShape 13">
            <a:extLst>
              <a:ext uri="{FF2B5EF4-FFF2-40B4-BE49-F238E27FC236}">
                <a16:creationId xmlns:a16="http://schemas.microsoft.com/office/drawing/2014/main" id="{8324E8B8-88C5-4CC5-B59E-371D34F7633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394192" y="3446966"/>
            <a:ext cx="471881" cy="47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C59FCBC-76E6-4F5E-906C-4C150CB6B430}"/>
              </a:ext>
            </a:extLst>
          </p:cNvPr>
          <p:cNvGrpSpPr/>
          <p:nvPr/>
        </p:nvGrpSpPr>
        <p:grpSpPr>
          <a:xfrm>
            <a:off x="191628" y="1263569"/>
            <a:ext cx="593658" cy="593658"/>
            <a:chOff x="-1695089" y="3097039"/>
            <a:chExt cx="593658" cy="593658"/>
          </a:xfrm>
        </p:grpSpPr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3AACB2EA-5995-445A-8899-4FE69D0CE371}"/>
                </a:ext>
              </a:extLst>
            </p:cNvPr>
            <p:cNvSpPr/>
            <p:nvPr/>
          </p:nvSpPr>
          <p:spPr>
            <a:xfrm>
              <a:off x="-1695089" y="3097039"/>
              <a:ext cx="593658" cy="59365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sp>
          <p:nvSpPr>
            <p:cNvPr id="154" name="AutoShape 13">
              <a:extLst>
                <a:ext uri="{FF2B5EF4-FFF2-40B4-BE49-F238E27FC236}">
                  <a16:creationId xmlns:a16="http://schemas.microsoft.com/office/drawing/2014/main" id="{FFED3B47-9735-4A47-AAEC-711E12192E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1634201" y="3157927"/>
              <a:ext cx="471881" cy="4718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9233" name="Picture 17" descr="Git - Logo Downloads">
              <a:extLst>
                <a:ext uri="{FF2B5EF4-FFF2-40B4-BE49-F238E27FC236}">
                  <a16:creationId xmlns:a16="http://schemas.microsoft.com/office/drawing/2014/main" id="{C6EF0615-8B3E-466D-BA16-52DC201ED6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34200" y="3157928"/>
              <a:ext cx="471880" cy="471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76BC628-BE1C-465D-A8FF-21975C2C96DF}"/>
              </a:ext>
            </a:extLst>
          </p:cNvPr>
          <p:cNvGrpSpPr/>
          <p:nvPr/>
        </p:nvGrpSpPr>
        <p:grpSpPr>
          <a:xfrm>
            <a:off x="1860335" y="2784477"/>
            <a:ext cx="593658" cy="593658"/>
            <a:chOff x="-1309254" y="2398978"/>
            <a:chExt cx="593658" cy="593658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04C1B6B9-1346-4386-B47E-1AFCADAAB2DB}"/>
                </a:ext>
              </a:extLst>
            </p:cNvPr>
            <p:cNvSpPr/>
            <p:nvPr/>
          </p:nvSpPr>
          <p:spPr>
            <a:xfrm>
              <a:off x="-1309254" y="2398978"/>
              <a:ext cx="593658" cy="59365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pic>
          <p:nvPicPr>
            <p:cNvPr id="9238" name="Picture 22">
              <a:extLst>
                <a:ext uri="{FF2B5EF4-FFF2-40B4-BE49-F238E27FC236}">
                  <a16:creationId xmlns:a16="http://schemas.microsoft.com/office/drawing/2014/main" id="{B8C9E277-69AE-44AC-9DC6-6E96403F41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07709" y="2486988"/>
              <a:ext cx="390568" cy="4176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229" name="TextBox 9228">
            <a:extLst>
              <a:ext uri="{FF2B5EF4-FFF2-40B4-BE49-F238E27FC236}">
                <a16:creationId xmlns:a16="http://schemas.microsoft.com/office/drawing/2014/main" id="{7D87EE4E-A4B3-45AC-8653-F3F9D831A0F3}"/>
              </a:ext>
            </a:extLst>
          </p:cNvPr>
          <p:cNvSpPr txBox="1"/>
          <p:nvPr/>
        </p:nvSpPr>
        <p:spPr>
          <a:xfrm>
            <a:off x="330316" y="4265355"/>
            <a:ext cx="1874876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solidFill>
                  <a:schemeClr val="accent4"/>
                </a:solidFill>
                <a:latin typeface="+mn-lt"/>
              </a:rPr>
              <a:t>Team Skills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28D19849-9C7D-4956-AF67-0D8BCCC49F0B}"/>
              </a:ext>
            </a:extLst>
          </p:cNvPr>
          <p:cNvSpPr txBox="1"/>
          <p:nvPr/>
        </p:nvSpPr>
        <p:spPr>
          <a:xfrm>
            <a:off x="2704662" y="4265355"/>
            <a:ext cx="1874876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solidFill>
                  <a:schemeClr val="accent5"/>
                </a:solidFill>
                <a:latin typeface="+mn-lt"/>
              </a:rPr>
              <a:t>Software Skills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EF8CE7A8-EC83-4AAD-8C8C-16BC5C249173}"/>
              </a:ext>
            </a:extLst>
          </p:cNvPr>
          <p:cNvSpPr txBox="1"/>
          <p:nvPr/>
        </p:nvSpPr>
        <p:spPr>
          <a:xfrm>
            <a:off x="5079008" y="4265355"/>
            <a:ext cx="1874876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solidFill>
                  <a:schemeClr val="accent3"/>
                </a:solidFill>
                <a:latin typeface="+mn-lt"/>
              </a:rPr>
              <a:t>Organizational Skills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0FF1FC9E-9B61-4B89-9E1C-91DD879982D1}"/>
              </a:ext>
            </a:extLst>
          </p:cNvPr>
          <p:cNvSpPr txBox="1"/>
          <p:nvPr/>
        </p:nvSpPr>
        <p:spPr>
          <a:xfrm>
            <a:off x="7453354" y="4265355"/>
            <a:ext cx="1874876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>
                <a:solidFill>
                  <a:schemeClr val="accent1"/>
                </a:solidFill>
                <a:latin typeface="+mn-lt"/>
              </a:rPr>
              <a:t>Other Skill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4EBD8E9-E592-468B-8E77-7D6CA8F011E4}"/>
              </a:ext>
            </a:extLst>
          </p:cNvPr>
          <p:cNvGrpSpPr/>
          <p:nvPr/>
        </p:nvGrpSpPr>
        <p:grpSpPr>
          <a:xfrm>
            <a:off x="6723435" y="1111643"/>
            <a:ext cx="593658" cy="593658"/>
            <a:chOff x="-1102742" y="3447735"/>
            <a:chExt cx="593658" cy="593658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80125B24-5A0B-409D-B17F-475D6B172928}"/>
                </a:ext>
              </a:extLst>
            </p:cNvPr>
            <p:cNvGrpSpPr/>
            <p:nvPr/>
          </p:nvGrpSpPr>
          <p:grpSpPr>
            <a:xfrm>
              <a:off x="-1102742" y="3447735"/>
              <a:ext cx="593658" cy="593658"/>
              <a:chOff x="3530997" y="4026842"/>
              <a:chExt cx="593658" cy="593658"/>
            </a:xfrm>
          </p:grpSpPr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34652DC6-0AE4-4C85-ACB5-8C8F26B759B2}"/>
                  </a:ext>
                </a:extLst>
              </p:cNvPr>
              <p:cNvSpPr/>
              <p:nvPr/>
            </p:nvSpPr>
            <p:spPr>
              <a:xfrm>
                <a:off x="3530997" y="4026842"/>
                <a:ext cx="593658" cy="593658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4000"/>
                  </a:lnSpc>
                </a:pPr>
                <a:endParaRPr lang="en-US"/>
              </a:p>
            </p:txBody>
          </p:sp>
          <p:sp>
            <p:nvSpPr>
              <p:cNvPr id="126" name="AutoShape 13">
                <a:extLst>
                  <a:ext uri="{FF2B5EF4-FFF2-40B4-BE49-F238E27FC236}">
                    <a16:creationId xmlns:a16="http://schemas.microsoft.com/office/drawing/2014/main" id="{B1552EE9-0CE9-47D7-8C1C-434F46CFAAC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591885" y="4087730"/>
                <a:ext cx="471881" cy="4718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9255" name="Picture 39" descr="Docker Logos - Docker">
              <a:extLst>
                <a:ext uri="{FF2B5EF4-FFF2-40B4-BE49-F238E27FC236}">
                  <a16:creationId xmlns:a16="http://schemas.microsoft.com/office/drawing/2014/main" id="{119F5A46-01C4-49B9-8E45-074CC6599F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69593" y="3555469"/>
              <a:ext cx="527360" cy="378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" name="Picture 13" descr="A person with a beard&#10;&#10;Description automatically generated with low confidence">
            <a:extLst>
              <a:ext uri="{FF2B5EF4-FFF2-40B4-BE49-F238E27FC236}">
                <a16:creationId xmlns:a16="http://schemas.microsoft.com/office/drawing/2014/main" id="{096F0C4D-EC2D-48B3-84FC-55FCAA3CF8C1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4305" r="4305"/>
          <a:stretch/>
        </p:blipFill>
        <p:spPr>
          <a:xfrm>
            <a:off x="792809" y="1192234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pic>
        <p:nvPicPr>
          <p:cNvPr id="20" name="Picture 19" descr="A picture containing person, clothing&#10;&#10;Description automatically generated">
            <a:extLst>
              <a:ext uri="{FF2B5EF4-FFF2-40B4-BE49-F238E27FC236}">
                <a16:creationId xmlns:a16="http://schemas.microsoft.com/office/drawing/2014/main" id="{DC97D81C-1E71-4AA1-AA04-ECC37CD21A31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265" t="-196" r="-265" b="29590"/>
          <a:stretch/>
        </p:blipFill>
        <p:spPr>
          <a:xfrm>
            <a:off x="7332139" y="2335751"/>
            <a:ext cx="970616" cy="970616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295E7E"/>
                </a:gs>
                <a:gs pos="100000">
                  <a:srgbClr val="30C1D7"/>
                </a:gs>
              </a:gsLst>
              <a:lin ang="2700000" scaled="1"/>
              <a:tileRect/>
            </a:gradFill>
          </a:ln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9F668B4F-7306-4AB2-9894-DAF5A933B5D5}"/>
              </a:ext>
            </a:extLst>
          </p:cNvPr>
          <p:cNvGrpSpPr/>
          <p:nvPr/>
        </p:nvGrpSpPr>
        <p:grpSpPr>
          <a:xfrm>
            <a:off x="2541656" y="1167318"/>
            <a:ext cx="593658" cy="593658"/>
            <a:chOff x="732302" y="3620715"/>
            <a:chExt cx="593658" cy="593658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8B0D08AD-5C41-4DC6-9873-3AB67FF7BAAE}"/>
                </a:ext>
              </a:extLst>
            </p:cNvPr>
            <p:cNvSpPr/>
            <p:nvPr/>
          </p:nvSpPr>
          <p:spPr>
            <a:xfrm>
              <a:off x="732302" y="3620715"/>
              <a:ext cx="593658" cy="59365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</a:pPr>
              <a:endParaRPr lang="en-US"/>
            </a:p>
          </p:txBody>
        </p:sp>
        <p:pic>
          <p:nvPicPr>
            <p:cNvPr id="9258" name="Picture 42">
              <a:extLst>
                <a:ext uri="{FF2B5EF4-FFF2-40B4-BE49-F238E27FC236}">
                  <a16:creationId xmlns:a16="http://schemas.microsoft.com/office/drawing/2014/main" id="{A8B9314F-9B09-4FF3-B97C-262BA680EA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235" y="3772779"/>
              <a:ext cx="537792" cy="289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8" name="NavigationIcon">
            <a:extLst>
              <a:ext uri="{FF2B5EF4-FFF2-40B4-BE49-F238E27FC236}">
                <a16:creationId xmlns:a16="http://schemas.microsoft.com/office/drawing/2014/main" id="{45B6411D-882C-4A81-9FE6-F6D5D53AECD3}"/>
              </a:ext>
            </a:extLst>
          </p:cNvPr>
          <p:cNvSpPr>
            <a:spLocks noChangeAspect="1"/>
          </p:cNvSpPr>
          <p:nvPr/>
        </p:nvSpPr>
        <p:spPr bwMode="auto">
          <a:xfrm>
            <a:off x="8596825" y="140455"/>
            <a:ext cx="457200" cy="348143"/>
          </a:xfrm>
          <a:custGeom>
            <a:avLst/>
            <a:gdLst>
              <a:gd name="connsiteX0" fmla="*/ 593617 w 1211263"/>
              <a:gd name="connsiteY0" fmla="*/ 682625 h 922338"/>
              <a:gd name="connsiteX1" fmla="*/ 616581 w 1211263"/>
              <a:gd name="connsiteY1" fmla="*/ 687617 h 922338"/>
              <a:gd name="connsiteX2" fmla="*/ 640263 w 1211263"/>
              <a:gd name="connsiteY2" fmla="*/ 756791 h 922338"/>
              <a:gd name="connsiteX3" fmla="*/ 600076 w 1211263"/>
              <a:gd name="connsiteY3" fmla="*/ 836663 h 922338"/>
              <a:gd name="connsiteX4" fmla="*/ 553429 w 1211263"/>
              <a:gd name="connsiteY4" fmla="*/ 865188 h 922338"/>
              <a:gd name="connsiteX5" fmla="*/ 531182 w 1211263"/>
              <a:gd name="connsiteY5" fmla="*/ 859483 h 922338"/>
              <a:gd name="connsiteX6" fmla="*/ 507500 w 1211263"/>
              <a:gd name="connsiteY6" fmla="*/ 791022 h 922338"/>
              <a:gd name="connsiteX7" fmla="*/ 547687 w 1211263"/>
              <a:gd name="connsiteY7" fmla="*/ 711151 h 922338"/>
              <a:gd name="connsiteX8" fmla="*/ 593617 w 1211263"/>
              <a:gd name="connsiteY8" fmla="*/ 682625 h 922338"/>
              <a:gd name="connsiteX9" fmla="*/ 500859 w 1211263"/>
              <a:gd name="connsiteY9" fmla="*/ 584200 h 922338"/>
              <a:gd name="connsiteX10" fmla="*/ 523034 w 1211263"/>
              <a:gd name="connsiteY10" fmla="*/ 589888 h 922338"/>
              <a:gd name="connsiteX11" fmla="*/ 546639 w 1211263"/>
              <a:gd name="connsiteY11" fmla="*/ 658141 h 922338"/>
              <a:gd name="connsiteX12" fmla="*/ 481546 w 1211263"/>
              <a:gd name="connsiteY12" fmla="*/ 787536 h 922338"/>
              <a:gd name="connsiteX13" fmla="*/ 435765 w 1211263"/>
              <a:gd name="connsiteY13" fmla="*/ 815975 h 922338"/>
              <a:gd name="connsiteX14" fmla="*/ 412875 w 1211263"/>
              <a:gd name="connsiteY14" fmla="*/ 810287 h 922338"/>
              <a:gd name="connsiteX15" fmla="*/ 389985 w 1211263"/>
              <a:gd name="connsiteY15" fmla="*/ 742035 h 922338"/>
              <a:gd name="connsiteX16" fmla="*/ 454364 w 1211263"/>
              <a:gd name="connsiteY16" fmla="*/ 612639 h 922338"/>
              <a:gd name="connsiteX17" fmla="*/ 500859 w 1211263"/>
              <a:gd name="connsiteY17" fmla="*/ 584200 h 922338"/>
              <a:gd name="connsiteX18" fmla="*/ 383787 w 1211263"/>
              <a:gd name="connsiteY18" fmla="*/ 531812 h 922338"/>
              <a:gd name="connsiteX19" fmla="*/ 406083 w 1211263"/>
              <a:gd name="connsiteY19" fmla="*/ 537529 h 922338"/>
              <a:gd name="connsiteX20" fmla="*/ 429099 w 1211263"/>
              <a:gd name="connsiteY20" fmla="*/ 606134 h 922338"/>
              <a:gd name="connsiteX21" fmla="*/ 370121 w 1211263"/>
              <a:gd name="connsiteY21" fmla="*/ 725477 h 922338"/>
              <a:gd name="connsiteX22" fmla="*/ 324090 w 1211263"/>
              <a:gd name="connsiteY22" fmla="*/ 754062 h 922338"/>
              <a:gd name="connsiteX23" fmla="*/ 301075 w 1211263"/>
              <a:gd name="connsiteY23" fmla="*/ 748345 h 922338"/>
              <a:gd name="connsiteX24" fmla="*/ 277340 w 1211263"/>
              <a:gd name="connsiteY24" fmla="*/ 679741 h 922338"/>
              <a:gd name="connsiteX25" fmla="*/ 337036 w 1211263"/>
              <a:gd name="connsiteY25" fmla="*/ 560397 h 922338"/>
              <a:gd name="connsiteX26" fmla="*/ 383787 w 1211263"/>
              <a:gd name="connsiteY26" fmla="*/ 531812 h 922338"/>
              <a:gd name="connsiteX27" fmla="*/ 264641 w 1211263"/>
              <a:gd name="connsiteY27" fmla="*/ 484187 h 922338"/>
              <a:gd name="connsiteX28" fmla="*/ 286694 w 1211263"/>
              <a:gd name="connsiteY28" fmla="*/ 489907 h 922338"/>
              <a:gd name="connsiteX29" fmla="*/ 310169 w 1211263"/>
              <a:gd name="connsiteY29" fmla="*/ 558551 h 922338"/>
              <a:gd name="connsiteX30" fmla="*/ 275312 w 1211263"/>
              <a:gd name="connsiteY30" fmla="*/ 628624 h 922338"/>
              <a:gd name="connsiteX31" fmla="*/ 229783 w 1211263"/>
              <a:gd name="connsiteY31" fmla="*/ 657225 h 922338"/>
              <a:gd name="connsiteX32" fmla="*/ 207019 w 1211263"/>
              <a:gd name="connsiteY32" fmla="*/ 651505 h 922338"/>
              <a:gd name="connsiteX33" fmla="*/ 184255 w 1211263"/>
              <a:gd name="connsiteY33" fmla="*/ 582862 h 922338"/>
              <a:gd name="connsiteX34" fmla="*/ 218401 w 1211263"/>
              <a:gd name="connsiteY34" fmla="*/ 512788 h 922338"/>
              <a:gd name="connsiteX35" fmla="*/ 264641 w 1211263"/>
              <a:gd name="connsiteY35" fmla="*/ 484187 h 922338"/>
              <a:gd name="connsiteX36" fmla="*/ 560388 w 1211263"/>
              <a:gd name="connsiteY36" fmla="*/ 219075 h 922338"/>
              <a:gd name="connsiteX37" fmla="*/ 619754 w 1211263"/>
              <a:gd name="connsiteY37" fmla="*/ 224787 h 922338"/>
              <a:gd name="connsiteX38" fmla="*/ 1098255 w 1211263"/>
              <a:gd name="connsiteY38" fmla="*/ 513232 h 922338"/>
              <a:gd name="connsiteX39" fmla="*/ 1124719 w 1211263"/>
              <a:gd name="connsiteY39" fmla="*/ 618900 h 922338"/>
              <a:gd name="connsiteX40" fmla="*/ 1058201 w 1211263"/>
              <a:gd name="connsiteY40" fmla="*/ 656026 h 922338"/>
              <a:gd name="connsiteX41" fmla="*/ 1034598 w 1211263"/>
              <a:gd name="connsiteY41" fmla="*/ 651743 h 922338"/>
              <a:gd name="connsiteX42" fmla="*/ 1035313 w 1211263"/>
              <a:gd name="connsiteY42" fmla="*/ 654598 h 922338"/>
              <a:gd name="connsiteX43" fmla="*/ 1026015 w 1211263"/>
              <a:gd name="connsiteY43" fmla="*/ 713144 h 922338"/>
              <a:gd name="connsiteX44" fmla="*/ 960212 w 1211263"/>
              <a:gd name="connsiteY44" fmla="*/ 750271 h 922338"/>
              <a:gd name="connsiteX45" fmla="*/ 925880 w 1211263"/>
              <a:gd name="connsiteY45" fmla="*/ 742417 h 922338"/>
              <a:gd name="connsiteX46" fmla="*/ 916582 w 1211263"/>
              <a:gd name="connsiteY46" fmla="*/ 798821 h 922338"/>
              <a:gd name="connsiteX47" fmla="*/ 850779 w 1211263"/>
              <a:gd name="connsiteY47" fmla="*/ 835947 h 922338"/>
              <a:gd name="connsiteX48" fmla="*/ 812871 w 1211263"/>
              <a:gd name="connsiteY48" fmla="*/ 825952 h 922338"/>
              <a:gd name="connsiteX49" fmla="*/ 805003 w 1211263"/>
              <a:gd name="connsiteY49" fmla="*/ 885212 h 922338"/>
              <a:gd name="connsiteX50" fmla="*/ 739200 w 1211263"/>
              <a:gd name="connsiteY50" fmla="*/ 922338 h 922338"/>
              <a:gd name="connsiteX51" fmla="*/ 699862 w 1211263"/>
              <a:gd name="connsiteY51" fmla="*/ 911629 h 922338"/>
              <a:gd name="connsiteX52" fmla="*/ 615462 w 1211263"/>
              <a:gd name="connsiteY52" fmla="*/ 860937 h 922338"/>
              <a:gd name="connsiteX53" fmla="*/ 631198 w 1211263"/>
              <a:gd name="connsiteY53" fmla="*/ 840231 h 922338"/>
              <a:gd name="connsiteX54" fmla="*/ 712736 w 1211263"/>
              <a:gd name="connsiteY54" fmla="*/ 889495 h 922338"/>
              <a:gd name="connsiteX55" fmla="*/ 739200 w 1211263"/>
              <a:gd name="connsiteY55" fmla="*/ 896635 h 922338"/>
              <a:gd name="connsiteX56" fmla="*/ 782830 w 1211263"/>
              <a:gd name="connsiteY56" fmla="*/ 872360 h 922338"/>
              <a:gd name="connsiteX57" fmla="*/ 764949 w 1211263"/>
              <a:gd name="connsiteY57" fmla="*/ 800963 h 922338"/>
              <a:gd name="connsiteX58" fmla="*/ 708445 w 1211263"/>
              <a:gd name="connsiteY58" fmla="*/ 767406 h 922338"/>
              <a:gd name="connsiteX59" fmla="*/ 704153 w 1211263"/>
              <a:gd name="connsiteY59" fmla="*/ 745273 h 922338"/>
              <a:gd name="connsiteX60" fmla="*/ 723465 w 1211263"/>
              <a:gd name="connsiteY60" fmla="*/ 741703 h 922338"/>
              <a:gd name="connsiteX61" fmla="*/ 824315 w 1211263"/>
              <a:gd name="connsiteY61" fmla="*/ 802391 h 922338"/>
              <a:gd name="connsiteX62" fmla="*/ 850779 w 1211263"/>
              <a:gd name="connsiteY62" fmla="*/ 810244 h 922338"/>
              <a:gd name="connsiteX63" fmla="*/ 894409 w 1211263"/>
              <a:gd name="connsiteY63" fmla="*/ 785255 h 922338"/>
              <a:gd name="connsiteX64" fmla="*/ 877243 w 1211263"/>
              <a:gd name="connsiteY64" fmla="*/ 715286 h 922338"/>
              <a:gd name="connsiteX65" fmla="*/ 787122 w 1211263"/>
              <a:gd name="connsiteY65" fmla="*/ 661024 h 922338"/>
              <a:gd name="connsiteX66" fmla="*/ 783546 w 1211263"/>
              <a:gd name="connsiteY66" fmla="*/ 641033 h 922338"/>
              <a:gd name="connsiteX67" fmla="*/ 801427 w 1211263"/>
              <a:gd name="connsiteY67" fmla="*/ 637463 h 922338"/>
              <a:gd name="connsiteX68" fmla="*/ 933748 w 1211263"/>
              <a:gd name="connsiteY68" fmla="*/ 717428 h 922338"/>
              <a:gd name="connsiteX69" fmla="*/ 960212 w 1211263"/>
              <a:gd name="connsiteY69" fmla="*/ 724568 h 922338"/>
              <a:gd name="connsiteX70" fmla="*/ 1003842 w 1211263"/>
              <a:gd name="connsiteY70" fmla="*/ 700293 h 922338"/>
              <a:gd name="connsiteX71" fmla="*/ 985245 w 1211263"/>
              <a:gd name="connsiteY71" fmla="*/ 628895 h 922338"/>
              <a:gd name="connsiteX72" fmla="*/ 867230 w 1211263"/>
              <a:gd name="connsiteY72" fmla="*/ 557498 h 922338"/>
              <a:gd name="connsiteX73" fmla="*/ 863653 w 1211263"/>
              <a:gd name="connsiteY73" fmla="*/ 536793 h 922338"/>
              <a:gd name="connsiteX74" fmla="*/ 882250 w 1211263"/>
              <a:gd name="connsiteY74" fmla="*/ 533223 h 922338"/>
              <a:gd name="connsiteX75" fmla="*/ 1032452 w 1211263"/>
              <a:gd name="connsiteY75" fmla="*/ 623184 h 922338"/>
              <a:gd name="connsiteX76" fmla="*/ 1058201 w 1211263"/>
              <a:gd name="connsiteY76" fmla="*/ 630323 h 922338"/>
              <a:gd name="connsiteX77" fmla="*/ 1102546 w 1211263"/>
              <a:gd name="connsiteY77" fmla="*/ 605334 h 922338"/>
              <a:gd name="connsiteX78" fmla="*/ 1085380 w 1211263"/>
              <a:gd name="connsiteY78" fmla="*/ 535365 h 922338"/>
              <a:gd name="connsiteX79" fmla="*/ 560388 w 1211263"/>
              <a:gd name="connsiteY79" fmla="*/ 219075 h 922338"/>
              <a:gd name="connsiteX80" fmla="*/ 599192 w 1211263"/>
              <a:gd name="connsiteY80" fmla="*/ 5020 h 922338"/>
              <a:gd name="connsiteX81" fmla="*/ 687596 w 1211263"/>
              <a:gd name="connsiteY81" fmla="*/ 26695 h 922338"/>
              <a:gd name="connsiteX82" fmla="*/ 988061 w 1211263"/>
              <a:gd name="connsiteY82" fmla="*/ 151285 h 922338"/>
              <a:gd name="connsiteX83" fmla="*/ 1184078 w 1211263"/>
              <a:gd name="connsiteY83" fmla="*/ 50189 h 922338"/>
              <a:gd name="connsiteX84" fmla="*/ 1211263 w 1211263"/>
              <a:gd name="connsiteY84" fmla="*/ 63716 h 922338"/>
              <a:gd name="connsiteX85" fmla="*/ 1211263 w 1211263"/>
              <a:gd name="connsiteY85" fmla="*/ 411144 h 922338"/>
              <a:gd name="connsiteX86" fmla="*/ 1205540 w 1211263"/>
              <a:gd name="connsiteY86" fmla="*/ 419688 h 922338"/>
              <a:gd name="connsiteX87" fmla="*/ 1081062 w 1211263"/>
              <a:gd name="connsiteY87" fmla="*/ 451013 h 922338"/>
              <a:gd name="connsiteX88" fmla="*/ 1072477 w 1211263"/>
              <a:gd name="connsiteY88" fmla="*/ 450301 h 922338"/>
              <a:gd name="connsiteX89" fmla="*/ 647534 w 1211263"/>
              <a:gd name="connsiteY89" fmla="*/ 196137 h 922338"/>
              <a:gd name="connsiteX90" fmla="*/ 500163 w 1211263"/>
              <a:gd name="connsiteY90" fmla="*/ 184034 h 922338"/>
              <a:gd name="connsiteX91" fmla="*/ 470832 w 1211263"/>
              <a:gd name="connsiteY91" fmla="*/ 198273 h 922338"/>
              <a:gd name="connsiteX92" fmla="*/ 300569 w 1211263"/>
              <a:gd name="connsiteY92" fmla="*/ 255229 h 922338"/>
              <a:gd name="connsiteX93" fmla="*/ 286976 w 1211263"/>
              <a:gd name="connsiteY93" fmla="*/ 173355 h 922338"/>
              <a:gd name="connsiteX94" fmla="*/ 599192 w 1211263"/>
              <a:gd name="connsiteY94" fmla="*/ 5020 h 922338"/>
              <a:gd name="connsiteX95" fmla="*/ 25738 w 1211263"/>
              <a:gd name="connsiteY95" fmla="*/ 0 h 922338"/>
              <a:gd name="connsiteX96" fmla="*/ 43612 w 1211263"/>
              <a:gd name="connsiteY96" fmla="*/ 6436 h 922338"/>
              <a:gd name="connsiteX97" fmla="*/ 110817 w 1211263"/>
              <a:gd name="connsiteY97" fmla="*/ 68650 h 922338"/>
              <a:gd name="connsiteX98" fmla="*/ 111532 w 1211263"/>
              <a:gd name="connsiteY98" fmla="*/ 69366 h 922338"/>
              <a:gd name="connsiteX99" fmla="*/ 231644 w 1211263"/>
              <a:gd name="connsiteY99" fmla="*/ 135871 h 922338"/>
              <a:gd name="connsiteX100" fmla="*/ 253808 w 1211263"/>
              <a:gd name="connsiteY100" fmla="*/ 130150 h 922338"/>
              <a:gd name="connsiteX101" fmla="*/ 260242 w 1211263"/>
              <a:gd name="connsiteY101" fmla="*/ 127289 h 922338"/>
              <a:gd name="connsiteX102" fmla="*/ 295275 w 1211263"/>
              <a:gd name="connsiteY102" fmla="*/ 115133 h 922338"/>
              <a:gd name="connsiteX103" fmla="*/ 261672 w 1211263"/>
              <a:gd name="connsiteY103" fmla="*/ 148028 h 922338"/>
              <a:gd name="connsiteX104" fmla="*/ 252378 w 1211263"/>
              <a:gd name="connsiteY104" fmla="*/ 158754 h 922338"/>
              <a:gd name="connsiteX105" fmla="*/ 231644 w 1211263"/>
              <a:gd name="connsiteY105" fmla="*/ 161615 h 922338"/>
              <a:gd name="connsiteX106" fmla="*/ 93658 w 1211263"/>
              <a:gd name="connsiteY106" fmla="*/ 87958 h 922338"/>
              <a:gd name="connsiteX107" fmla="*/ 25738 w 1211263"/>
              <a:gd name="connsiteY107" fmla="*/ 25744 h 922338"/>
              <a:gd name="connsiteX108" fmla="*/ 25738 w 1211263"/>
              <a:gd name="connsiteY108" fmla="*/ 399031 h 922338"/>
              <a:gd name="connsiteX109" fmla="*/ 187317 w 1211263"/>
              <a:gd name="connsiteY109" fmla="*/ 518455 h 922338"/>
              <a:gd name="connsiteX110" fmla="*/ 175878 w 1211263"/>
              <a:gd name="connsiteY110" fmla="*/ 541338 h 922338"/>
              <a:gd name="connsiteX111" fmla="*/ 10724 w 1211263"/>
              <a:gd name="connsiteY111" fmla="*/ 419770 h 922338"/>
              <a:gd name="connsiteX112" fmla="*/ 0 w 1211263"/>
              <a:gd name="connsiteY112" fmla="*/ 399031 h 922338"/>
              <a:gd name="connsiteX113" fmla="*/ 0 w 1211263"/>
              <a:gd name="connsiteY113" fmla="*/ 26459 h 922338"/>
              <a:gd name="connsiteX114" fmla="*/ 12869 w 1211263"/>
              <a:gd name="connsiteY114" fmla="*/ 3575 h 922338"/>
              <a:gd name="connsiteX115" fmla="*/ 25738 w 1211263"/>
              <a:gd name="connsiteY115" fmla="*/ 0 h 922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1211263" h="922338">
                <a:moveTo>
                  <a:pt x="593617" y="682625"/>
                </a:moveTo>
                <a:cubicBezTo>
                  <a:pt x="601511" y="682625"/>
                  <a:pt x="609405" y="684051"/>
                  <a:pt x="616581" y="687617"/>
                </a:cubicBezTo>
                <a:cubicBezTo>
                  <a:pt x="642416" y="700454"/>
                  <a:pt x="652463" y="731118"/>
                  <a:pt x="640263" y="756791"/>
                </a:cubicBezTo>
                <a:cubicBezTo>
                  <a:pt x="640263" y="756791"/>
                  <a:pt x="640263" y="756791"/>
                  <a:pt x="600076" y="836663"/>
                </a:cubicBezTo>
                <a:cubicBezTo>
                  <a:pt x="590746" y="854491"/>
                  <a:pt x="572805" y="865188"/>
                  <a:pt x="553429" y="865188"/>
                </a:cubicBezTo>
                <a:cubicBezTo>
                  <a:pt x="546252" y="865188"/>
                  <a:pt x="538358" y="863049"/>
                  <a:pt x="531182" y="859483"/>
                </a:cubicBezTo>
                <a:cubicBezTo>
                  <a:pt x="505347" y="847360"/>
                  <a:pt x="495300" y="816695"/>
                  <a:pt x="507500" y="791022"/>
                </a:cubicBezTo>
                <a:cubicBezTo>
                  <a:pt x="507500" y="791022"/>
                  <a:pt x="507500" y="791022"/>
                  <a:pt x="547687" y="711151"/>
                </a:cubicBezTo>
                <a:cubicBezTo>
                  <a:pt x="557017" y="693322"/>
                  <a:pt x="574958" y="682625"/>
                  <a:pt x="593617" y="682625"/>
                </a:cubicBezTo>
                <a:close/>
                <a:moveTo>
                  <a:pt x="500859" y="584200"/>
                </a:moveTo>
                <a:cubicBezTo>
                  <a:pt x="508012" y="584200"/>
                  <a:pt x="515881" y="586333"/>
                  <a:pt x="523034" y="589888"/>
                </a:cubicBezTo>
                <a:cubicBezTo>
                  <a:pt x="548785" y="602685"/>
                  <a:pt x="558800" y="633257"/>
                  <a:pt x="546639" y="658141"/>
                </a:cubicBezTo>
                <a:cubicBezTo>
                  <a:pt x="546639" y="658141"/>
                  <a:pt x="546639" y="658141"/>
                  <a:pt x="481546" y="787536"/>
                </a:cubicBezTo>
                <a:cubicBezTo>
                  <a:pt x="472962" y="805311"/>
                  <a:pt x="454364" y="815975"/>
                  <a:pt x="435765" y="815975"/>
                </a:cubicBezTo>
                <a:cubicBezTo>
                  <a:pt x="427897" y="815975"/>
                  <a:pt x="420744" y="813842"/>
                  <a:pt x="412875" y="810287"/>
                </a:cubicBezTo>
                <a:cubicBezTo>
                  <a:pt x="388554" y="798201"/>
                  <a:pt x="377825" y="767629"/>
                  <a:pt x="389985" y="742035"/>
                </a:cubicBezTo>
                <a:cubicBezTo>
                  <a:pt x="389985" y="742035"/>
                  <a:pt x="389985" y="742035"/>
                  <a:pt x="454364" y="612639"/>
                </a:cubicBezTo>
                <a:cubicBezTo>
                  <a:pt x="463663" y="594865"/>
                  <a:pt x="481546" y="584200"/>
                  <a:pt x="500859" y="584200"/>
                </a:cubicBezTo>
                <a:close/>
                <a:moveTo>
                  <a:pt x="383787" y="531812"/>
                </a:moveTo>
                <a:cubicBezTo>
                  <a:pt x="390260" y="531812"/>
                  <a:pt x="398172" y="533956"/>
                  <a:pt x="406083" y="537529"/>
                </a:cubicBezTo>
                <a:cubicBezTo>
                  <a:pt x="431256" y="550393"/>
                  <a:pt x="441326" y="581122"/>
                  <a:pt x="429099" y="606134"/>
                </a:cubicBezTo>
                <a:cubicBezTo>
                  <a:pt x="429099" y="606134"/>
                  <a:pt x="429099" y="606134"/>
                  <a:pt x="370121" y="725477"/>
                </a:cubicBezTo>
                <a:cubicBezTo>
                  <a:pt x="360771" y="743343"/>
                  <a:pt x="342790" y="754062"/>
                  <a:pt x="324090" y="754062"/>
                </a:cubicBezTo>
                <a:cubicBezTo>
                  <a:pt x="316179" y="754062"/>
                  <a:pt x="308267" y="752633"/>
                  <a:pt x="301075" y="748345"/>
                </a:cubicBezTo>
                <a:cubicBezTo>
                  <a:pt x="275182" y="736196"/>
                  <a:pt x="265113" y="705467"/>
                  <a:pt x="277340" y="679741"/>
                </a:cubicBezTo>
                <a:cubicBezTo>
                  <a:pt x="277340" y="679741"/>
                  <a:pt x="277340" y="679741"/>
                  <a:pt x="337036" y="560397"/>
                </a:cubicBezTo>
                <a:cubicBezTo>
                  <a:pt x="346387" y="542532"/>
                  <a:pt x="364367" y="531812"/>
                  <a:pt x="383787" y="531812"/>
                </a:cubicBezTo>
                <a:close/>
                <a:moveTo>
                  <a:pt x="264641" y="484187"/>
                </a:moveTo>
                <a:cubicBezTo>
                  <a:pt x="271755" y="484187"/>
                  <a:pt x="279580" y="486332"/>
                  <a:pt x="286694" y="489907"/>
                </a:cubicBezTo>
                <a:cubicBezTo>
                  <a:pt x="312303" y="502063"/>
                  <a:pt x="322263" y="532809"/>
                  <a:pt x="310169" y="558551"/>
                </a:cubicBezTo>
                <a:cubicBezTo>
                  <a:pt x="310169" y="558551"/>
                  <a:pt x="310169" y="558551"/>
                  <a:pt x="275312" y="628624"/>
                </a:cubicBezTo>
                <a:cubicBezTo>
                  <a:pt x="266064" y="646500"/>
                  <a:pt x="248279" y="657225"/>
                  <a:pt x="229783" y="657225"/>
                </a:cubicBezTo>
                <a:cubicBezTo>
                  <a:pt x="221958" y="657225"/>
                  <a:pt x="214133" y="655795"/>
                  <a:pt x="207019" y="651505"/>
                </a:cubicBezTo>
                <a:cubicBezTo>
                  <a:pt x="181409" y="639349"/>
                  <a:pt x="171450" y="608603"/>
                  <a:pt x="184255" y="582862"/>
                </a:cubicBezTo>
                <a:cubicBezTo>
                  <a:pt x="184255" y="582862"/>
                  <a:pt x="184255" y="582862"/>
                  <a:pt x="218401" y="512788"/>
                </a:cubicBezTo>
                <a:cubicBezTo>
                  <a:pt x="227649" y="494913"/>
                  <a:pt x="245433" y="484187"/>
                  <a:pt x="264641" y="484187"/>
                </a:cubicBezTo>
                <a:close/>
                <a:moveTo>
                  <a:pt x="560388" y="219075"/>
                </a:moveTo>
                <a:cubicBezTo>
                  <a:pt x="588283" y="220503"/>
                  <a:pt x="606879" y="222645"/>
                  <a:pt x="619754" y="224787"/>
                </a:cubicBezTo>
                <a:cubicBezTo>
                  <a:pt x="619754" y="224787"/>
                  <a:pt x="619754" y="224787"/>
                  <a:pt x="1098255" y="513232"/>
                </a:cubicBezTo>
                <a:cubicBezTo>
                  <a:pt x="1134732" y="535365"/>
                  <a:pt x="1146176" y="582487"/>
                  <a:pt x="1124719" y="618900"/>
                </a:cubicBezTo>
                <a:cubicBezTo>
                  <a:pt x="1110414" y="641747"/>
                  <a:pt x="1085380" y="656026"/>
                  <a:pt x="1058201" y="656026"/>
                </a:cubicBezTo>
                <a:cubicBezTo>
                  <a:pt x="1050333" y="656026"/>
                  <a:pt x="1041750" y="654598"/>
                  <a:pt x="1034598" y="651743"/>
                </a:cubicBezTo>
                <a:cubicBezTo>
                  <a:pt x="1034598" y="653170"/>
                  <a:pt x="1034598" y="653884"/>
                  <a:pt x="1035313" y="654598"/>
                </a:cubicBezTo>
                <a:cubicBezTo>
                  <a:pt x="1040320" y="674590"/>
                  <a:pt x="1036743" y="695295"/>
                  <a:pt x="1026015" y="713144"/>
                </a:cubicBezTo>
                <a:cubicBezTo>
                  <a:pt x="1012425" y="735991"/>
                  <a:pt x="987391" y="750271"/>
                  <a:pt x="960212" y="750271"/>
                </a:cubicBezTo>
                <a:cubicBezTo>
                  <a:pt x="948053" y="750271"/>
                  <a:pt x="936609" y="747415"/>
                  <a:pt x="925880" y="742417"/>
                </a:cubicBezTo>
                <a:cubicBezTo>
                  <a:pt x="930171" y="760980"/>
                  <a:pt x="927310" y="780972"/>
                  <a:pt x="916582" y="798821"/>
                </a:cubicBezTo>
                <a:cubicBezTo>
                  <a:pt x="902992" y="821668"/>
                  <a:pt x="877958" y="835947"/>
                  <a:pt x="850779" y="835947"/>
                </a:cubicBezTo>
                <a:cubicBezTo>
                  <a:pt x="837904" y="835947"/>
                  <a:pt x="824315" y="832378"/>
                  <a:pt x="812871" y="825952"/>
                </a:cubicBezTo>
                <a:cubicBezTo>
                  <a:pt x="818593" y="845229"/>
                  <a:pt x="815732" y="866648"/>
                  <a:pt x="805003" y="885212"/>
                </a:cubicBezTo>
                <a:cubicBezTo>
                  <a:pt x="790698" y="908059"/>
                  <a:pt x="766380" y="922338"/>
                  <a:pt x="739200" y="922338"/>
                </a:cubicBezTo>
                <a:cubicBezTo>
                  <a:pt x="725610" y="922338"/>
                  <a:pt x="712021" y="918768"/>
                  <a:pt x="699862" y="911629"/>
                </a:cubicBezTo>
                <a:cubicBezTo>
                  <a:pt x="699862" y="911629"/>
                  <a:pt x="699862" y="911629"/>
                  <a:pt x="615462" y="860937"/>
                </a:cubicBezTo>
                <a:cubicBezTo>
                  <a:pt x="615462" y="860937"/>
                  <a:pt x="615462" y="860937"/>
                  <a:pt x="631198" y="840231"/>
                </a:cubicBezTo>
                <a:cubicBezTo>
                  <a:pt x="631198" y="840231"/>
                  <a:pt x="631198" y="840231"/>
                  <a:pt x="712736" y="889495"/>
                </a:cubicBezTo>
                <a:cubicBezTo>
                  <a:pt x="721319" y="894493"/>
                  <a:pt x="730617" y="896635"/>
                  <a:pt x="739200" y="896635"/>
                </a:cubicBezTo>
                <a:cubicBezTo>
                  <a:pt x="756366" y="896635"/>
                  <a:pt x="773532" y="888067"/>
                  <a:pt x="782830" y="872360"/>
                </a:cubicBezTo>
                <a:cubicBezTo>
                  <a:pt x="797135" y="848085"/>
                  <a:pt x="788552" y="815956"/>
                  <a:pt x="764949" y="800963"/>
                </a:cubicBezTo>
                <a:cubicBezTo>
                  <a:pt x="764949" y="800963"/>
                  <a:pt x="764949" y="800963"/>
                  <a:pt x="708445" y="767406"/>
                </a:cubicBezTo>
                <a:cubicBezTo>
                  <a:pt x="700577" y="762408"/>
                  <a:pt x="698431" y="752413"/>
                  <a:pt x="704153" y="745273"/>
                </a:cubicBezTo>
                <a:cubicBezTo>
                  <a:pt x="708445" y="739561"/>
                  <a:pt x="717028" y="737419"/>
                  <a:pt x="723465" y="741703"/>
                </a:cubicBezTo>
                <a:cubicBezTo>
                  <a:pt x="723465" y="741703"/>
                  <a:pt x="723465" y="741703"/>
                  <a:pt x="824315" y="802391"/>
                </a:cubicBezTo>
                <a:cubicBezTo>
                  <a:pt x="832898" y="807389"/>
                  <a:pt x="841481" y="810244"/>
                  <a:pt x="850779" y="810244"/>
                </a:cubicBezTo>
                <a:cubicBezTo>
                  <a:pt x="867945" y="810244"/>
                  <a:pt x="885111" y="800963"/>
                  <a:pt x="894409" y="785255"/>
                </a:cubicBezTo>
                <a:cubicBezTo>
                  <a:pt x="909429" y="760980"/>
                  <a:pt x="901561" y="729566"/>
                  <a:pt x="877243" y="715286"/>
                </a:cubicBezTo>
                <a:cubicBezTo>
                  <a:pt x="877243" y="715286"/>
                  <a:pt x="877243" y="715286"/>
                  <a:pt x="787122" y="661024"/>
                </a:cubicBezTo>
                <a:cubicBezTo>
                  <a:pt x="780685" y="656740"/>
                  <a:pt x="779254" y="647459"/>
                  <a:pt x="783546" y="641033"/>
                </a:cubicBezTo>
                <a:cubicBezTo>
                  <a:pt x="787837" y="635321"/>
                  <a:pt x="795705" y="633893"/>
                  <a:pt x="801427" y="637463"/>
                </a:cubicBezTo>
                <a:cubicBezTo>
                  <a:pt x="801427" y="637463"/>
                  <a:pt x="801427" y="637463"/>
                  <a:pt x="933748" y="717428"/>
                </a:cubicBezTo>
                <a:cubicBezTo>
                  <a:pt x="942331" y="722426"/>
                  <a:pt x="950914" y="724568"/>
                  <a:pt x="960212" y="724568"/>
                </a:cubicBezTo>
                <a:cubicBezTo>
                  <a:pt x="977378" y="724568"/>
                  <a:pt x="994544" y="716000"/>
                  <a:pt x="1003842" y="700293"/>
                </a:cubicBezTo>
                <a:cubicBezTo>
                  <a:pt x="1018862" y="676018"/>
                  <a:pt x="1009564" y="643175"/>
                  <a:pt x="985245" y="628895"/>
                </a:cubicBezTo>
                <a:cubicBezTo>
                  <a:pt x="985245" y="628895"/>
                  <a:pt x="985245" y="628895"/>
                  <a:pt x="867230" y="557498"/>
                </a:cubicBezTo>
                <a:cubicBezTo>
                  <a:pt x="860077" y="553214"/>
                  <a:pt x="857931" y="543219"/>
                  <a:pt x="863653" y="536793"/>
                </a:cubicBezTo>
                <a:cubicBezTo>
                  <a:pt x="867945" y="530367"/>
                  <a:pt x="875813" y="528939"/>
                  <a:pt x="882250" y="533223"/>
                </a:cubicBezTo>
                <a:cubicBezTo>
                  <a:pt x="882250" y="533223"/>
                  <a:pt x="882250" y="533223"/>
                  <a:pt x="1032452" y="623184"/>
                </a:cubicBezTo>
                <a:cubicBezTo>
                  <a:pt x="1040320" y="628181"/>
                  <a:pt x="1049618" y="630323"/>
                  <a:pt x="1058201" y="630323"/>
                </a:cubicBezTo>
                <a:cubicBezTo>
                  <a:pt x="1076082" y="630323"/>
                  <a:pt x="1093248" y="621756"/>
                  <a:pt x="1102546" y="605334"/>
                </a:cubicBezTo>
                <a:cubicBezTo>
                  <a:pt x="1116851" y="581059"/>
                  <a:pt x="1108983" y="549644"/>
                  <a:pt x="1085380" y="535365"/>
                </a:cubicBezTo>
                <a:cubicBezTo>
                  <a:pt x="1085380" y="535365"/>
                  <a:pt x="1085380" y="535365"/>
                  <a:pt x="560388" y="219075"/>
                </a:cubicBezTo>
                <a:close/>
                <a:moveTo>
                  <a:pt x="599192" y="5020"/>
                </a:moveTo>
                <a:cubicBezTo>
                  <a:pt x="639978" y="7339"/>
                  <a:pt x="668817" y="20822"/>
                  <a:pt x="687596" y="26695"/>
                </a:cubicBezTo>
                <a:cubicBezTo>
                  <a:pt x="758420" y="47341"/>
                  <a:pt x="935122" y="139182"/>
                  <a:pt x="988061" y="151285"/>
                </a:cubicBezTo>
                <a:cubicBezTo>
                  <a:pt x="1026692" y="160540"/>
                  <a:pt x="1133286" y="87922"/>
                  <a:pt x="1184078" y="50189"/>
                </a:cubicBezTo>
                <a:cubicBezTo>
                  <a:pt x="1195525" y="42358"/>
                  <a:pt x="1211263" y="50189"/>
                  <a:pt x="1211263" y="63716"/>
                </a:cubicBezTo>
                <a:cubicBezTo>
                  <a:pt x="1211263" y="63716"/>
                  <a:pt x="1211263" y="63716"/>
                  <a:pt x="1211263" y="411144"/>
                </a:cubicBezTo>
                <a:cubicBezTo>
                  <a:pt x="1211263" y="415416"/>
                  <a:pt x="1209117" y="418264"/>
                  <a:pt x="1205540" y="419688"/>
                </a:cubicBezTo>
                <a:cubicBezTo>
                  <a:pt x="1205540" y="419688"/>
                  <a:pt x="1205540" y="419688"/>
                  <a:pt x="1081062" y="451013"/>
                </a:cubicBezTo>
                <a:cubicBezTo>
                  <a:pt x="1078200" y="452437"/>
                  <a:pt x="1074623" y="451725"/>
                  <a:pt x="1072477" y="450301"/>
                </a:cubicBezTo>
                <a:cubicBezTo>
                  <a:pt x="1032415" y="424671"/>
                  <a:pt x="696896" y="213224"/>
                  <a:pt x="647534" y="196137"/>
                </a:cubicBezTo>
                <a:cubicBezTo>
                  <a:pt x="608903" y="181899"/>
                  <a:pt x="534502" y="183322"/>
                  <a:pt x="500163" y="184034"/>
                </a:cubicBezTo>
                <a:cubicBezTo>
                  <a:pt x="488717" y="184746"/>
                  <a:pt x="477986" y="189730"/>
                  <a:pt x="470832" y="198273"/>
                </a:cubicBezTo>
                <a:cubicBezTo>
                  <a:pt x="398578" y="277299"/>
                  <a:pt x="339915" y="274451"/>
                  <a:pt x="300569" y="255229"/>
                </a:cubicBezTo>
                <a:cubicBezTo>
                  <a:pt x="269092" y="239566"/>
                  <a:pt x="261938" y="198273"/>
                  <a:pt x="286976" y="173355"/>
                </a:cubicBezTo>
                <a:cubicBezTo>
                  <a:pt x="430055" y="28297"/>
                  <a:pt x="531216" y="1154"/>
                  <a:pt x="599192" y="5020"/>
                </a:cubicBezTo>
                <a:close/>
                <a:moveTo>
                  <a:pt x="25738" y="0"/>
                </a:moveTo>
                <a:cubicBezTo>
                  <a:pt x="32173" y="0"/>
                  <a:pt x="38607" y="2145"/>
                  <a:pt x="43612" y="6436"/>
                </a:cubicBezTo>
                <a:cubicBezTo>
                  <a:pt x="110817" y="68650"/>
                  <a:pt x="110817" y="68650"/>
                  <a:pt x="110817" y="68650"/>
                </a:cubicBezTo>
                <a:cubicBezTo>
                  <a:pt x="111532" y="69366"/>
                  <a:pt x="111532" y="69366"/>
                  <a:pt x="111532" y="69366"/>
                </a:cubicBezTo>
                <a:cubicBezTo>
                  <a:pt x="130121" y="87958"/>
                  <a:pt x="188032" y="135871"/>
                  <a:pt x="231644" y="135871"/>
                </a:cubicBezTo>
                <a:cubicBezTo>
                  <a:pt x="240223" y="135871"/>
                  <a:pt x="247373" y="133725"/>
                  <a:pt x="253808" y="130150"/>
                </a:cubicBezTo>
                <a:cubicBezTo>
                  <a:pt x="255952" y="128720"/>
                  <a:pt x="258097" y="128004"/>
                  <a:pt x="260242" y="127289"/>
                </a:cubicBezTo>
                <a:cubicBezTo>
                  <a:pt x="295275" y="115133"/>
                  <a:pt x="295275" y="115133"/>
                  <a:pt x="295275" y="115133"/>
                </a:cubicBezTo>
                <a:cubicBezTo>
                  <a:pt x="283836" y="125859"/>
                  <a:pt x="273111" y="136586"/>
                  <a:pt x="261672" y="148028"/>
                </a:cubicBezTo>
                <a:cubicBezTo>
                  <a:pt x="258097" y="151603"/>
                  <a:pt x="255237" y="155179"/>
                  <a:pt x="252378" y="158754"/>
                </a:cubicBezTo>
                <a:cubicBezTo>
                  <a:pt x="245943" y="160900"/>
                  <a:pt x="238794" y="161615"/>
                  <a:pt x="231644" y="161615"/>
                </a:cubicBezTo>
                <a:cubicBezTo>
                  <a:pt x="167298" y="161615"/>
                  <a:pt x="93658" y="87958"/>
                  <a:pt x="93658" y="87958"/>
                </a:cubicBezTo>
                <a:cubicBezTo>
                  <a:pt x="25738" y="25744"/>
                  <a:pt x="25738" y="25744"/>
                  <a:pt x="25738" y="25744"/>
                </a:cubicBezTo>
                <a:cubicBezTo>
                  <a:pt x="25738" y="399031"/>
                  <a:pt x="25738" y="399031"/>
                  <a:pt x="25738" y="399031"/>
                </a:cubicBezTo>
                <a:cubicBezTo>
                  <a:pt x="187317" y="518455"/>
                  <a:pt x="187317" y="518455"/>
                  <a:pt x="187317" y="518455"/>
                </a:cubicBezTo>
                <a:cubicBezTo>
                  <a:pt x="175878" y="541338"/>
                  <a:pt x="175878" y="541338"/>
                  <a:pt x="175878" y="541338"/>
                </a:cubicBezTo>
                <a:cubicBezTo>
                  <a:pt x="10724" y="419770"/>
                  <a:pt x="10724" y="419770"/>
                  <a:pt x="10724" y="419770"/>
                </a:cubicBezTo>
                <a:cubicBezTo>
                  <a:pt x="4289" y="414764"/>
                  <a:pt x="0" y="406898"/>
                  <a:pt x="0" y="399031"/>
                </a:cubicBezTo>
                <a:cubicBezTo>
                  <a:pt x="0" y="26459"/>
                  <a:pt x="0" y="26459"/>
                  <a:pt x="0" y="26459"/>
                </a:cubicBezTo>
                <a:cubicBezTo>
                  <a:pt x="0" y="17163"/>
                  <a:pt x="5004" y="7866"/>
                  <a:pt x="12869" y="3575"/>
                </a:cubicBezTo>
                <a:cubicBezTo>
                  <a:pt x="17159" y="715"/>
                  <a:pt x="21448" y="0"/>
                  <a:pt x="2573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87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DF571A-3F4B-4340-985A-92C89AB0C5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8855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DF571A-3F4B-4340-985A-92C89AB0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090" y="300364"/>
            <a:ext cx="8508999" cy="380810"/>
          </a:xfrm>
        </p:spPr>
        <p:txBody>
          <a:bodyPr vert="horz"/>
          <a:lstStyle/>
          <a:p>
            <a:r>
              <a:rPr lang="en-GB"/>
              <a:t>Elites – Defining specific responsibiliti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51">
            <a:extLst>
              <a:ext uri="{FF2B5EF4-FFF2-40B4-BE49-F238E27FC236}">
                <a16:creationId xmlns:a16="http://schemas.microsoft.com/office/drawing/2014/main" id="{221955A3-F0F5-475E-8DFE-8A377CBDD8C0}"/>
              </a:ext>
            </a:extLst>
          </p:cNvPr>
          <p:cNvSpPr txBox="1"/>
          <p:nvPr/>
        </p:nvSpPr>
        <p:spPr>
          <a:xfrm>
            <a:off x="501237" y="3705161"/>
            <a:ext cx="1818677" cy="76219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Data Preparation</a:t>
            </a:r>
          </a:p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Modeling</a:t>
            </a:r>
          </a:p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Analysis/Evaluation</a:t>
            </a: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8F413BD1-C610-4263-8F8A-CFCE6242B3BD}"/>
              </a:ext>
            </a:extLst>
          </p:cNvPr>
          <p:cNvGrpSpPr/>
          <p:nvPr/>
        </p:nvGrpSpPr>
        <p:grpSpPr>
          <a:xfrm>
            <a:off x="501238" y="1940586"/>
            <a:ext cx="1818677" cy="1689861"/>
            <a:chOff x="318674" y="1810806"/>
            <a:chExt cx="1818677" cy="1689861"/>
          </a:xfrm>
        </p:grpSpPr>
        <p:sp>
          <p:nvSpPr>
            <p:cNvPr id="16" name="Shape 37717">
              <a:extLst>
                <a:ext uri="{FF2B5EF4-FFF2-40B4-BE49-F238E27FC236}">
                  <a16:creationId xmlns:a16="http://schemas.microsoft.com/office/drawing/2014/main" id="{94080CFC-634A-4A32-AC7A-D427D66C5167}"/>
                </a:ext>
              </a:extLst>
            </p:cNvPr>
            <p:cNvSpPr/>
            <p:nvPr/>
          </p:nvSpPr>
          <p:spPr>
            <a:xfrm>
              <a:off x="318674" y="1810806"/>
              <a:ext cx="1818677" cy="16898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463" y="0"/>
                  </a:moveTo>
                  <a:cubicBezTo>
                    <a:pt x="11253" y="0"/>
                    <a:pt x="5455" y="0"/>
                    <a:pt x="0" y="0"/>
                  </a:cubicBezTo>
                  <a:cubicBezTo>
                    <a:pt x="3379" y="1974"/>
                    <a:pt x="5079" y="6477"/>
                    <a:pt x="5079" y="10800"/>
                  </a:cubicBezTo>
                  <a:cubicBezTo>
                    <a:pt x="5079" y="15123"/>
                    <a:pt x="3380" y="19626"/>
                    <a:pt x="0" y="21600"/>
                  </a:cubicBezTo>
                  <a:cubicBezTo>
                    <a:pt x="5455" y="21600"/>
                    <a:pt x="11253" y="21600"/>
                    <a:pt x="13463" y="21600"/>
                  </a:cubicBezTo>
                  <a:cubicBezTo>
                    <a:pt x="19057" y="21600"/>
                    <a:pt x="21600" y="16053"/>
                    <a:pt x="21600" y="10800"/>
                  </a:cubicBezTo>
                  <a:cubicBezTo>
                    <a:pt x="21600" y="5547"/>
                    <a:pt x="19057" y="0"/>
                    <a:pt x="13463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26789" tIns="26789" rIns="26789" bIns="26789" numCol="1" anchor="ctr">
              <a:noAutofit/>
            </a:bodyPr>
            <a:lstStyle/>
            <a:p>
              <a:endParaRPr sz="2532"/>
            </a:p>
          </p:txBody>
        </p:sp>
        <p:sp>
          <p:nvSpPr>
            <p:cNvPr id="17" name="TextBox 44">
              <a:extLst>
                <a:ext uri="{FF2B5EF4-FFF2-40B4-BE49-F238E27FC236}">
                  <a16:creationId xmlns:a16="http://schemas.microsoft.com/office/drawing/2014/main" id="{C30CB6B1-7C6F-4815-AA8D-3F6558482FC3}"/>
                </a:ext>
              </a:extLst>
            </p:cNvPr>
            <p:cNvSpPr txBox="1"/>
            <p:nvPr/>
          </p:nvSpPr>
          <p:spPr>
            <a:xfrm>
              <a:off x="715389" y="2880509"/>
              <a:ext cx="1227190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cs typeface="Poppins" pitchFamily="2" charset="77"/>
                </a:rPr>
                <a:t>Backend</a:t>
              </a:r>
            </a:p>
          </p:txBody>
        </p:sp>
      </p:grpSp>
      <p:grpSp>
        <p:nvGrpSpPr>
          <p:cNvPr id="71" name="Group 223">
            <a:extLst>
              <a:ext uri="{FF2B5EF4-FFF2-40B4-BE49-F238E27FC236}">
                <a16:creationId xmlns:a16="http://schemas.microsoft.com/office/drawing/2014/main" id="{8C4D0157-4929-4F27-BD65-CDA7D3CDBD0D}"/>
              </a:ext>
            </a:extLst>
          </p:cNvPr>
          <p:cNvGrpSpPr/>
          <p:nvPr/>
        </p:nvGrpSpPr>
        <p:grpSpPr>
          <a:xfrm>
            <a:off x="1106237" y="834604"/>
            <a:ext cx="637821" cy="985582"/>
            <a:chOff x="4183520" y="178682"/>
            <a:chExt cx="863878" cy="1282808"/>
          </a:xfrm>
        </p:grpSpPr>
        <p:grpSp>
          <p:nvGrpSpPr>
            <p:cNvPr id="72" name="Group 224">
              <a:extLst>
                <a:ext uri="{FF2B5EF4-FFF2-40B4-BE49-F238E27FC236}">
                  <a16:creationId xmlns:a16="http://schemas.microsoft.com/office/drawing/2014/main" id="{2A4867A7-8C1E-4423-9CE1-BD45A61545EB}"/>
                </a:ext>
              </a:extLst>
            </p:cNvPr>
            <p:cNvGrpSpPr/>
            <p:nvPr/>
          </p:nvGrpSpPr>
          <p:grpSpPr>
            <a:xfrm>
              <a:off x="4484505" y="178682"/>
              <a:ext cx="261913" cy="323918"/>
              <a:chOff x="1055505" y="4132812"/>
              <a:chExt cx="261913" cy="323918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76" name="Freeform 15">
                <a:extLst>
                  <a:ext uri="{FF2B5EF4-FFF2-40B4-BE49-F238E27FC236}">
                    <a16:creationId xmlns:a16="http://schemas.microsoft.com/office/drawing/2014/main" id="{FCFBE77B-9429-4795-8B25-0D42FA4F4A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505" y="4300651"/>
                <a:ext cx="261913" cy="156079"/>
              </a:xfrm>
              <a:custGeom>
                <a:avLst/>
                <a:gdLst>
                  <a:gd name="T0" fmla="*/ 329 w 440"/>
                  <a:gd name="T1" fmla="*/ 0 h 261"/>
                  <a:gd name="T2" fmla="*/ 220 w 440"/>
                  <a:gd name="T3" fmla="*/ 34 h 261"/>
                  <a:gd name="T4" fmla="*/ 111 w 440"/>
                  <a:gd name="T5" fmla="*/ 0 h 261"/>
                  <a:gd name="T6" fmla="*/ 0 w 440"/>
                  <a:gd name="T7" fmla="*/ 193 h 261"/>
                  <a:gd name="T8" fmla="*/ 0 w 440"/>
                  <a:gd name="T9" fmla="*/ 261 h 261"/>
                  <a:gd name="T10" fmla="*/ 440 w 440"/>
                  <a:gd name="T11" fmla="*/ 261 h 261"/>
                  <a:gd name="T12" fmla="*/ 440 w 440"/>
                  <a:gd name="T13" fmla="*/ 193 h 261"/>
                  <a:gd name="T14" fmla="*/ 329 w 440"/>
                  <a:gd name="T15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0" h="261">
                    <a:moveTo>
                      <a:pt x="329" y="0"/>
                    </a:moveTo>
                    <a:cubicBezTo>
                      <a:pt x="297" y="22"/>
                      <a:pt x="260" y="34"/>
                      <a:pt x="220" y="34"/>
                    </a:cubicBezTo>
                    <a:cubicBezTo>
                      <a:pt x="181" y="34"/>
                      <a:pt x="143" y="22"/>
                      <a:pt x="111" y="0"/>
                    </a:cubicBezTo>
                    <a:cubicBezTo>
                      <a:pt x="45" y="38"/>
                      <a:pt x="0" y="110"/>
                      <a:pt x="0" y="193"/>
                    </a:cubicBezTo>
                    <a:cubicBezTo>
                      <a:pt x="0" y="261"/>
                      <a:pt x="0" y="261"/>
                      <a:pt x="0" y="261"/>
                    </a:cubicBezTo>
                    <a:cubicBezTo>
                      <a:pt x="440" y="261"/>
                      <a:pt x="440" y="261"/>
                      <a:pt x="440" y="261"/>
                    </a:cubicBezTo>
                    <a:cubicBezTo>
                      <a:pt x="440" y="193"/>
                      <a:pt x="440" y="193"/>
                      <a:pt x="440" y="193"/>
                    </a:cubicBezTo>
                    <a:cubicBezTo>
                      <a:pt x="440" y="110"/>
                      <a:pt x="395" y="38"/>
                      <a:pt x="329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  <p:sp>
            <p:nvSpPr>
              <p:cNvPr id="77" name="Oval 16">
                <a:extLst>
                  <a:ext uri="{FF2B5EF4-FFF2-40B4-BE49-F238E27FC236}">
                    <a16:creationId xmlns:a16="http://schemas.microsoft.com/office/drawing/2014/main" id="{F06DE6EC-94B3-41CA-8ADC-C555D76ED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3233" y="4132812"/>
                <a:ext cx="146458" cy="14752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tx1">
                      <a:lumMod val="95000"/>
                      <a:lumOff val="5000"/>
                    </a:schemeClr>
                  </a:solidFill>
                </a:endParaRPr>
              </a:p>
            </p:txBody>
          </p:sp>
        </p:grpSp>
        <p:sp>
          <p:nvSpPr>
            <p:cNvPr id="73" name="TextBox 225">
              <a:extLst>
                <a:ext uri="{FF2B5EF4-FFF2-40B4-BE49-F238E27FC236}">
                  <a16:creationId xmlns:a16="http://schemas.microsoft.com/office/drawing/2014/main" id="{90FD65FE-042F-44AE-A4A0-091CA8E29362}"/>
                </a:ext>
              </a:extLst>
            </p:cNvPr>
            <p:cNvSpPr txBox="1"/>
            <p:nvPr/>
          </p:nvSpPr>
          <p:spPr>
            <a:xfrm>
              <a:off x="4342324" y="518988"/>
              <a:ext cx="546277" cy="56083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100"/>
                <a:t>Elite Head</a:t>
              </a:r>
            </a:p>
          </p:txBody>
        </p:sp>
        <p:sp>
          <p:nvSpPr>
            <p:cNvPr id="74" name="TextBox 226">
              <a:extLst>
                <a:ext uri="{FF2B5EF4-FFF2-40B4-BE49-F238E27FC236}">
                  <a16:creationId xmlns:a16="http://schemas.microsoft.com/office/drawing/2014/main" id="{4FBAC06B-C664-4D8A-BA2C-76DF7EEDD010}"/>
                </a:ext>
              </a:extLst>
            </p:cNvPr>
            <p:cNvSpPr txBox="1"/>
            <p:nvPr/>
          </p:nvSpPr>
          <p:spPr>
            <a:xfrm>
              <a:off x="4183520" y="1100955"/>
              <a:ext cx="863878" cy="36053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200"/>
                <a:t>Amadou</a:t>
              </a:r>
            </a:p>
          </p:txBody>
        </p:sp>
        <p:sp>
          <p:nvSpPr>
            <p:cNvPr id="75" name="Isosceles Triangle 227">
              <a:extLst>
                <a:ext uri="{FF2B5EF4-FFF2-40B4-BE49-F238E27FC236}">
                  <a16:creationId xmlns:a16="http://schemas.microsoft.com/office/drawing/2014/main" id="{A64A305A-69E7-45B9-81D4-7A56E1078C02}"/>
                </a:ext>
              </a:extLst>
            </p:cNvPr>
            <p:cNvSpPr/>
            <p:nvPr/>
          </p:nvSpPr>
          <p:spPr>
            <a:xfrm rot="10800000">
              <a:off x="4582374" y="1057595"/>
              <a:ext cx="66173" cy="57046"/>
            </a:xfrm>
            <a:prstGeom prst="triangle">
              <a:avLst/>
            </a:prstGeom>
            <a:solidFill>
              <a:schemeClr val="tx1">
                <a:lumMod val="85000"/>
                <a:lumOff val="15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85" name="Group 223">
            <a:extLst>
              <a:ext uri="{FF2B5EF4-FFF2-40B4-BE49-F238E27FC236}">
                <a16:creationId xmlns:a16="http://schemas.microsoft.com/office/drawing/2014/main" id="{5D63DAF2-6A4C-4DD1-A376-D46278B7235A}"/>
              </a:ext>
            </a:extLst>
          </p:cNvPr>
          <p:cNvGrpSpPr/>
          <p:nvPr/>
        </p:nvGrpSpPr>
        <p:grpSpPr>
          <a:xfrm>
            <a:off x="2977145" y="807660"/>
            <a:ext cx="798403" cy="983960"/>
            <a:chOff x="4074772" y="178682"/>
            <a:chExt cx="1081374" cy="1280697"/>
          </a:xfrm>
        </p:grpSpPr>
        <p:grpSp>
          <p:nvGrpSpPr>
            <p:cNvPr id="86" name="Group 224">
              <a:extLst>
                <a:ext uri="{FF2B5EF4-FFF2-40B4-BE49-F238E27FC236}">
                  <a16:creationId xmlns:a16="http://schemas.microsoft.com/office/drawing/2014/main" id="{A04FB6A4-26E2-4B96-A4B6-2BF893536AB9}"/>
                </a:ext>
              </a:extLst>
            </p:cNvPr>
            <p:cNvGrpSpPr/>
            <p:nvPr/>
          </p:nvGrpSpPr>
          <p:grpSpPr>
            <a:xfrm>
              <a:off x="4484505" y="178682"/>
              <a:ext cx="261913" cy="323918"/>
              <a:chOff x="1055505" y="4132812"/>
              <a:chExt cx="261913" cy="323918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90" name="Freeform 15">
                <a:extLst>
                  <a:ext uri="{FF2B5EF4-FFF2-40B4-BE49-F238E27FC236}">
                    <a16:creationId xmlns:a16="http://schemas.microsoft.com/office/drawing/2014/main" id="{CE761425-B4FE-4E6F-B856-78B5EB2FA4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505" y="4300651"/>
                <a:ext cx="261913" cy="156079"/>
              </a:xfrm>
              <a:custGeom>
                <a:avLst/>
                <a:gdLst>
                  <a:gd name="T0" fmla="*/ 329 w 440"/>
                  <a:gd name="T1" fmla="*/ 0 h 261"/>
                  <a:gd name="T2" fmla="*/ 220 w 440"/>
                  <a:gd name="T3" fmla="*/ 34 h 261"/>
                  <a:gd name="T4" fmla="*/ 111 w 440"/>
                  <a:gd name="T5" fmla="*/ 0 h 261"/>
                  <a:gd name="T6" fmla="*/ 0 w 440"/>
                  <a:gd name="T7" fmla="*/ 193 h 261"/>
                  <a:gd name="T8" fmla="*/ 0 w 440"/>
                  <a:gd name="T9" fmla="*/ 261 h 261"/>
                  <a:gd name="T10" fmla="*/ 440 w 440"/>
                  <a:gd name="T11" fmla="*/ 261 h 261"/>
                  <a:gd name="T12" fmla="*/ 440 w 440"/>
                  <a:gd name="T13" fmla="*/ 193 h 261"/>
                  <a:gd name="T14" fmla="*/ 329 w 440"/>
                  <a:gd name="T15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0" h="261">
                    <a:moveTo>
                      <a:pt x="329" y="0"/>
                    </a:moveTo>
                    <a:cubicBezTo>
                      <a:pt x="297" y="22"/>
                      <a:pt x="260" y="34"/>
                      <a:pt x="220" y="34"/>
                    </a:cubicBezTo>
                    <a:cubicBezTo>
                      <a:pt x="181" y="34"/>
                      <a:pt x="143" y="22"/>
                      <a:pt x="111" y="0"/>
                    </a:cubicBezTo>
                    <a:cubicBezTo>
                      <a:pt x="45" y="38"/>
                      <a:pt x="0" y="110"/>
                      <a:pt x="0" y="193"/>
                    </a:cubicBezTo>
                    <a:cubicBezTo>
                      <a:pt x="0" y="261"/>
                      <a:pt x="0" y="261"/>
                      <a:pt x="0" y="261"/>
                    </a:cubicBezTo>
                    <a:cubicBezTo>
                      <a:pt x="440" y="261"/>
                      <a:pt x="440" y="261"/>
                      <a:pt x="440" y="261"/>
                    </a:cubicBezTo>
                    <a:cubicBezTo>
                      <a:pt x="440" y="193"/>
                      <a:pt x="440" y="193"/>
                      <a:pt x="440" y="193"/>
                    </a:cubicBezTo>
                    <a:cubicBezTo>
                      <a:pt x="440" y="110"/>
                      <a:pt x="395" y="38"/>
                      <a:pt x="3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Oval 16">
                <a:extLst>
                  <a:ext uri="{FF2B5EF4-FFF2-40B4-BE49-F238E27FC236}">
                    <a16:creationId xmlns:a16="http://schemas.microsoft.com/office/drawing/2014/main" id="{4DFF66DE-099E-465B-9AF0-B6004EC544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3233" y="4132812"/>
                <a:ext cx="146458" cy="14752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7" name="TextBox 225">
              <a:extLst>
                <a:ext uri="{FF2B5EF4-FFF2-40B4-BE49-F238E27FC236}">
                  <a16:creationId xmlns:a16="http://schemas.microsoft.com/office/drawing/2014/main" id="{76929226-331B-47DE-A80A-E74C92701A44}"/>
                </a:ext>
              </a:extLst>
            </p:cNvPr>
            <p:cNvSpPr txBox="1"/>
            <p:nvPr/>
          </p:nvSpPr>
          <p:spPr>
            <a:xfrm>
              <a:off x="4342324" y="518988"/>
              <a:ext cx="546277" cy="56083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100"/>
                <a:t>Elite Head</a:t>
              </a:r>
            </a:p>
          </p:txBody>
        </p:sp>
        <p:sp>
          <p:nvSpPr>
            <p:cNvPr id="88" name="TextBox 226">
              <a:extLst>
                <a:ext uri="{FF2B5EF4-FFF2-40B4-BE49-F238E27FC236}">
                  <a16:creationId xmlns:a16="http://schemas.microsoft.com/office/drawing/2014/main" id="{7E25AFFF-71BF-4F6D-8A4A-6D42767D76FA}"/>
                </a:ext>
              </a:extLst>
            </p:cNvPr>
            <p:cNvSpPr txBox="1"/>
            <p:nvPr/>
          </p:nvSpPr>
          <p:spPr>
            <a:xfrm>
              <a:off x="4074772" y="1098844"/>
              <a:ext cx="1081374" cy="36053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200"/>
                <a:t>Magdalena</a:t>
              </a:r>
            </a:p>
          </p:txBody>
        </p:sp>
        <p:sp>
          <p:nvSpPr>
            <p:cNvPr id="89" name="Isosceles Triangle 227">
              <a:extLst>
                <a:ext uri="{FF2B5EF4-FFF2-40B4-BE49-F238E27FC236}">
                  <a16:creationId xmlns:a16="http://schemas.microsoft.com/office/drawing/2014/main" id="{AEB0304B-3A49-48E7-8514-B5AC984B9A1F}"/>
                </a:ext>
              </a:extLst>
            </p:cNvPr>
            <p:cNvSpPr/>
            <p:nvPr/>
          </p:nvSpPr>
          <p:spPr>
            <a:xfrm rot="10800000">
              <a:off x="4582374" y="1057595"/>
              <a:ext cx="66173" cy="57046"/>
            </a:xfrm>
            <a:prstGeom prst="triangle">
              <a:avLst/>
            </a:prstGeom>
            <a:solidFill>
              <a:schemeClr val="tx1">
                <a:lumMod val="85000"/>
                <a:lumOff val="15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37FB81A6-A325-4137-A1BC-CAB8425911FF}"/>
              </a:ext>
            </a:extLst>
          </p:cNvPr>
          <p:cNvGrpSpPr/>
          <p:nvPr/>
        </p:nvGrpSpPr>
        <p:grpSpPr>
          <a:xfrm>
            <a:off x="2481237" y="1928191"/>
            <a:ext cx="1818677" cy="1689861"/>
            <a:chOff x="2250837" y="1928191"/>
            <a:chExt cx="1818677" cy="1689861"/>
          </a:xfrm>
        </p:grpSpPr>
        <p:sp>
          <p:nvSpPr>
            <p:cNvPr id="93" name="Shape 37717">
              <a:extLst>
                <a:ext uri="{FF2B5EF4-FFF2-40B4-BE49-F238E27FC236}">
                  <a16:creationId xmlns:a16="http://schemas.microsoft.com/office/drawing/2014/main" id="{3BCC7BA8-EE90-4E3B-B5F9-70D44749F648}"/>
                </a:ext>
              </a:extLst>
            </p:cNvPr>
            <p:cNvSpPr/>
            <p:nvPr/>
          </p:nvSpPr>
          <p:spPr>
            <a:xfrm>
              <a:off x="2250837" y="1928191"/>
              <a:ext cx="1818677" cy="16898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463" y="0"/>
                  </a:moveTo>
                  <a:cubicBezTo>
                    <a:pt x="11253" y="0"/>
                    <a:pt x="5455" y="0"/>
                    <a:pt x="0" y="0"/>
                  </a:cubicBezTo>
                  <a:cubicBezTo>
                    <a:pt x="3379" y="1974"/>
                    <a:pt x="5079" y="6477"/>
                    <a:pt x="5079" y="10800"/>
                  </a:cubicBezTo>
                  <a:cubicBezTo>
                    <a:pt x="5079" y="15123"/>
                    <a:pt x="3380" y="19626"/>
                    <a:pt x="0" y="21600"/>
                  </a:cubicBezTo>
                  <a:cubicBezTo>
                    <a:pt x="5455" y="21600"/>
                    <a:pt x="11253" y="21600"/>
                    <a:pt x="13463" y="21600"/>
                  </a:cubicBezTo>
                  <a:cubicBezTo>
                    <a:pt x="19057" y="21600"/>
                    <a:pt x="21600" y="16053"/>
                    <a:pt x="21600" y="10800"/>
                  </a:cubicBezTo>
                  <a:cubicBezTo>
                    <a:pt x="21600" y="5547"/>
                    <a:pt x="19057" y="0"/>
                    <a:pt x="13463" y="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26789" tIns="26789" rIns="26789" bIns="26789" numCol="1" anchor="ctr">
              <a:noAutofit/>
            </a:bodyPr>
            <a:lstStyle/>
            <a:p>
              <a:endParaRPr sz="2532"/>
            </a:p>
          </p:txBody>
        </p:sp>
        <p:sp>
          <p:nvSpPr>
            <p:cNvPr id="94" name="TextBox 44">
              <a:extLst>
                <a:ext uri="{FF2B5EF4-FFF2-40B4-BE49-F238E27FC236}">
                  <a16:creationId xmlns:a16="http://schemas.microsoft.com/office/drawing/2014/main" id="{2B472F3A-1B7C-44CB-AB1B-DE2E3DEB9DF4}"/>
                </a:ext>
              </a:extLst>
            </p:cNvPr>
            <p:cNvSpPr txBox="1"/>
            <p:nvPr/>
          </p:nvSpPr>
          <p:spPr>
            <a:xfrm>
              <a:off x="2647552" y="2997894"/>
              <a:ext cx="1227190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cs typeface="Poppins" pitchFamily="2" charset="77"/>
                </a:rPr>
                <a:t>Frontend</a:t>
              </a:r>
            </a:p>
          </p:txBody>
        </p:sp>
        <p:pic>
          <p:nvPicPr>
            <p:cNvPr id="101" name="Grafik 100" descr="Laptop mit einfarbiger Füllung">
              <a:extLst>
                <a:ext uri="{FF2B5EF4-FFF2-40B4-BE49-F238E27FC236}">
                  <a16:creationId xmlns:a16="http://schemas.microsoft.com/office/drawing/2014/main" id="{1F9D519E-73F8-480C-978A-73BE546ADA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946220" y="2229285"/>
              <a:ext cx="680843" cy="680843"/>
            </a:xfrm>
            <a:prstGeom prst="rect">
              <a:avLst/>
            </a:prstGeom>
          </p:spPr>
        </p:pic>
      </p:grpSp>
      <p:grpSp>
        <p:nvGrpSpPr>
          <p:cNvPr id="103" name="Group 223">
            <a:extLst>
              <a:ext uri="{FF2B5EF4-FFF2-40B4-BE49-F238E27FC236}">
                <a16:creationId xmlns:a16="http://schemas.microsoft.com/office/drawing/2014/main" id="{BCBBCC51-9007-42EC-BE0B-A47A9949F2F9}"/>
              </a:ext>
            </a:extLst>
          </p:cNvPr>
          <p:cNvGrpSpPr/>
          <p:nvPr/>
        </p:nvGrpSpPr>
        <p:grpSpPr>
          <a:xfrm>
            <a:off x="4989838" y="834604"/>
            <a:ext cx="798403" cy="983960"/>
            <a:chOff x="4074772" y="178682"/>
            <a:chExt cx="1081374" cy="1280697"/>
          </a:xfrm>
        </p:grpSpPr>
        <p:grpSp>
          <p:nvGrpSpPr>
            <p:cNvPr id="104" name="Group 224">
              <a:extLst>
                <a:ext uri="{FF2B5EF4-FFF2-40B4-BE49-F238E27FC236}">
                  <a16:creationId xmlns:a16="http://schemas.microsoft.com/office/drawing/2014/main" id="{FA07CDE7-D6DB-4BE7-B35D-4A12BC9CFA7C}"/>
                </a:ext>
              </a:extLst>
            </p:cNvPr>
            <p:cNvGrpSpPr/>
            <p:nvPr/>
          </p:nvGrpSpPr>
          <p:grpSpPr>
            <a:xfrm>
              <a:off x="4484505" y="178682"/>
              <a:ext cx="261913" cy="323918"/>
              <a:chOff x="1055505" y="4132812"/>
              <a:chExt cx="261913" cy="323918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108" name="Freeform 15">
                <a:extLst>
                  <a:ext uri="{FF2B5EF4-FFF2-40B4-BE49-F238E27FC236}">
                    <a16:creationId xmlns:a16="http://schemas.microsoft.com/office/drawing/2014/main" id="{F420763D-046C-4154-9336-D9751D330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505" y="4300651"/>
                <a:ext cx="261913" cy="156079"/>
              </a:xfrm>
              <a:custGeom>
                <a:avLst/>
                <a:gdLst>
                  <a:gd name="T0" fmla="*/ 329 w 440"/>
                  <a:gd name="T1" fmla="*/ 0 h 261"/>
                  <a:gd name="T2" fmla="*/ 220 w 440"/>
                  <a:gd name="T3" fmla="*/ 34 h 261"/>
                  <a:gd name="T4" fmla="*/ 111 w 440"/>
                  <a:gd name="T5" fmla="*/ 0 h 261"/>
                  <a:gd name="T6" fmla="*/ 0 w 440"/>
                  <a:gd name="T7" fmla="*/ 193 h 261"/>
                  <a:gd name="T8" fmla="*/ 0 w 440"/>
                  <a:gd name="T9" fmla="*/ 261 h 261"/>
                  <a:gd name="T10" fmla="*/ 440 w 440"/>
                  <a:gd name="T11" fmla="*/ 261 h 261"/>
                  <a:gd name="T12" fmla="*/ 440 w 440"/>
                  <a:gd name="T13" fmla="*/ 193 h 261"/>
                  <a:gd name="T14" fmla="*/ 329 w 440"/>
                  <a:gd name="T15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0" h="261">
                    <a:moveTo>
                      <a:pt x="329" y="0"/>
                    </a:moveTo>
                    <a:cubicBezTo>
                      <a:pt x="297" y="22"/>
                      <a:pt x="260" y="34"/>
                      <a:pt x="220" y="34"/>
                    </a:cubicBezTo>
                    <a:cubicBezTo>
                      <a:pt x="181" y="34"/>
                      <a:pt x="143" y="22"/>
                      <a:pt x="111" y="0"/>
                    </a:cubicBezTo>
                    <a:cubicBezTo>
                      <a:pt x="45" y="38"/>
                      <a:pt x="0" y="110"/>
                      <a:pt x="0" y="193"/>
                    </a:cubicBezTo>
                    <a:cubicBezTo>
                      <a:pt x="0" y="261"/>
                      <a:pt x="0" y="261"/>
                      <a:pt x="0" y="261"/>
                    </a:cubicBezTo>
                    <a:cubicBezTo>
                      <a:pt x="440" y="261"/>
                      <a:pt x="440" y="261"/>
                      <a:pt x="440" y="261"/>
                    </a:cubicBezTo>
                    <a:cubicBezTo>
                      <a:pt x="440" y="193"/>
                      <a:pt x="440" y="193"/>
                      <a:pt x="440" y="193"/>
                    </a:cubicBezTo>
                    <a:cubicBezTo>
                      <a:pt x="440" y="110"/>
                      <a:pt x="395" y="38"/>
                      <a:pt x="329" y="0"/>
                    </a:cubicBez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Oval 16">
                <a:extLst>
                  <a:ext uri="{FF2B5EF4-FFF2-40B4-BE49-F238E27FC236}">
                    <a16:creationId xmlns:a16="http://schemas.microsoft.com/office/drawing/2014/main" id="{069DB964-2DB6-49E9-B3A6-26EA786E87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3233" y="4132812"/>
                <a:ext cx="146458" cy="147527"/>
              </a:xfrm>
              <a:prstGeom prst="ellipse">
                <a:avLst/>
              </a:pr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5" name="TextBox 225">
              <a:extLst>
                <a:ext uri="{FF2B5EF4-FFF2-40B4-BE49-F238E27FC236}">
                  <a16:creationId xmlns:a16="http://schemas.microsoft.com/office/drawing/2014/main" id="{967B6CB5-89B4-4DF5-92BC-952C0542B11F}"/>
                </a:ext>
              </a:extLst>
            </p:cNvPr>
            <p:cNvSpPr txBox="1"/>
            <p:nvPr/>
          </p:nvSpPr>
          <p:spPr>
            <a:xfrm>
              <a:off x="4342324" y="518988"/>
              <a:ext cx="546277" cy="56083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100"/>
                <a:t>Elite Head</a:t>
              </a:r>
            </a:p>
          </p:txBody>
        </p:sp>
        <p:sp>
          <p:nvSpPr>
            <p:cNvPr id="106" name="TextBox 226">
              <a:extLst>
                <a:ext uri="{FF2B5EF4-FFF2-40B4-BE49-F238E27FC236}">
                  <a16:creationId xmlns:a16="http://schemas.microsoft.com/office/drawing/2014/main" id="{4B5C40C3-B03F-478A-A841-AA462D6CBF03}"/>
                </a:ext>
              </a:extLst>
            </p:cNvPr>
            <p:cNvSpPr txBox="1"/>
            <p:nvPr/>
          </p:nvSpPr>
          <p:spPr>
            <a:xfrm>
              <a:off x="4074772" y="1098844"/>
              <a:ext cx="1081374" cy="36053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200"/>
                <a:t>Nils</a:t>
              </a:r>
            </a:p>
          </p:txBody>
        </p:sp>
        <p:sp>
          <p:nvSpPr>
            <p:cNvPr id="107" name="Isosceles Triangle 227">
              <a:extLst>
                <a:ext uri="{FF2B5EF4-FFF2-40B4-BE49-F238E27FC236}">
                  <a16:creationId xmlns:a16="http://schemas.microsoft.com/office/drawing/2014/main" id="{D1D618D1-52A6-43E2-B765-B55A76F9F4A1}"/>
                </a:ext>
              </a:extLst>
            </p:cNvPr>
            <p:cNvSpPr/>
            <p:nvPr/>
          </p:nvSpPr>
          <p:spPr>
            <a:xfrm rot="10800000">
              <a:off x="4582374" y="1057595"/>
              <a:ext cx="66173" cy="57046"/>
            </a:xfrm>
            <a:prstGeom prst="triangle">
              <a:avLst/>
            </a:prstGeom>
            <a:solidFill>
              <a:schemeClr val="tx1">
                <a:lumMod val="85000"/>
                <a:lumOff val="15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3084F377-CCDE-402E-9FF6-33ECB68C06C0}"/>
              </a:ext>
            </a:extLst>
          </p:cNvPr>
          <p:cNvGrpSpPr/>
          <p:nvPr/>
        </p:nvGrpSpPr>
        <p:grpSpPr>
          <a:xfrm>
            <a:off x="4461236" y="1937050"/>
            <a:ext cx="1818677" cy="1689861"/>
            <a:chOff x="4230836" y="1937050"/>
            <a:chExt cx="1818677" cy="1689861"/>
          </a:xfrm>
        </p:grpSpPr>
        <p:sp>
          <p:nvSpPr>
            <p:cNvPr id="111" name="Shape 37717">
              <a:extLst>
                <a:ext uri="{FF2B5EF4-FFF2-40B4-BE49-F238E27FC236}">
                  <a16:creationId xmlns:a16="http://schemas.microsoft.com/office/drawing/2014/main" id="{96401EBC-F455-45CA-9950-672E47CDF816}"/>
                </a:ext>
              </a:extLst>
            </p:cNvPr>
            <p:cNvSpPr/>
            <p:nvPr/>
          </p:nvSpPr>
          <p:spPr>
            <a:xfrm>
              <a:off x="4230836" y="1937050"/>
              <a:ext cx="1818677" cy="16898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463" y="0"/>
                  </a:moveTo>
                  <a:cubicBezTo>
                    <a:pt x="11253" y="0"/>
                    <a:pt x="5455" y="0"/>
                    <a:pt x="0" y="0"/>
                  </a:cubicBezTo>
                  <a:cubicBezTo>
                    <a:pt x="3379" y="1974"/>
                    <a:pt x="5079" y="6477"/>
                    <a:pt x="5079" y="10800"/>
                  </a:cubicBezTo>
                  <a:cubicBezTo>
                    <a:pt x="5079" y="15123"/>
                    <a:pt x="3380" y="19626"/>
                    <a:pt x="0" y="21600"/>
                  </a:cubicBezTo>
                  <a:cubicBezTo>
                    <a:pt x="5455" y="21600"/>
                    <a:pt x="11253" y="21600"/>
                    <a:pt x="13463" y="21600"/>
                  </a:cubicBezTo>
                  <a:cubicBezTo>
                    <a:pt x="19057" y="21600"/>
                    <a:pt x="21600" y="16053"/>
                    <a:pt x="21600" y="10800"/>
                  </a:cubicBezTo>
                  <a:cubicBezTo>
                    <a:pt x="21600" y="5547"/>
                    <a:pt x="19057" y="0"/>
                    <a:pt x="13463" y="0"/>
                  </a:cubicBezTo>
                  <a:close/>
                </a:path>
              </a:pathLst>
            </a:custGeom>
            <a:solidFill>
              <a:srgbClr val="999999"/>
            </a:solidFill>
            <a:ln w="12700" cap="flat">
              <a:noFill/>
              <a:miter lim="400000"/>
            </a:ln>
            <a:effectLst/>
          </p:spPr>
          <p:txBody>
            <a:bodyPr wrap="square" lIns="26789" tIns="26789" rIns="26789" bIns="26789" numCol="1" anchor="ctr">
              <a:noAutofit/>
            </a:bodyPr>
            <a:lstStyle/>
            <a:p>
              <a:endParaRPr sz="2532"/>
            </a:p>
          </p:txBody>
        </p:sp>
        <p:sp>
          <p:nvSpPr>
            <p:cNvPr id="112" name="TextBox 44">
              <a:extLst>
                <a:ext uri="{FF2B5EF4-FFF2-40B4-BE49-F238E27FC236}">
                  <a16:creationId xmlns:a16="http://schemas.microsoft.com/office/drawing/2014/main" id="{91EE3709-FA45-4CC9-A296-EC5B87F0031F}"/>
                </a:ext>
              </a:extLst>
            </p:cNvPr>
            <p:cNvSpPr txBox="1"/>
            <p:nvPr/>
          </p:nvSpPr>
          <p:spPr>
            <a:xfrm>
              <a:off x="4628617" y="2905899"/>
              <a:ext cx="1227190" cy="58477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cs typeface="Poppins" pitchFamily="2" charset="77"/>
                </a:rPr>
                <a:t>Quality </a:t>
              </a:r>
            </a:p>
            <a:p>
              <a:pPr algn="ctr"/>
              <a:r>
                <a:rPr lang="en-US" sz="1600" b="1">
                  <a:solidFill>
                    <a:schemeClr val="bg1"/>
                  </a:solidFill>
                  <a:cs typeface="Poppins" pitchFamily="2" charset="77"/>
                </a:rPr>
                <a:t>Control</a:t>
              </a:r>
            </a:p>
          </p:txBody>
        </p:sp>
        <p:pic>
          <p:nvPicPr>
            <p:cNvPr id="115" name="Grafik 114" descr="Klemmbrett Marke mit einfarbiger Füllung">
              <a:extLst>
                <a:ext uri="{FF2B5EF4-FFF2-40B4-BE49-F238E27FC236}">
                  <a16:creationId xmlns:a16="http://schemas.microsoft.com/office/drawing/2014/main" id="{10BCF641-DD7D-4775-929B-E1E763E60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16727" y="2180402"/>
              <a:ext cx="699823" cy="699823"/>
            </a:xfrm>
            <a:prstGeom prst="rect">
              <a:avLst/>
            </a:prstGeom>
          </p:spPr>
        </p:pic>
      </p:grpSp>
      <p:pic>
        <p:nvPicPr>
          <p:cNvPr id="117" name="Grafik 116" descr="Künstliche Intelligenz mit einfarbiger Füllung">
            <a:extLst>
              <a:ext uri="{FF2B5EF4-FFF2-40B4-BE49-F238E27FC236}">
                <a16:creationId xmlns:a16="http://schemas.microsoft.com/office/drawing/2014/main" id="{2BACFB5E-3BA4-4BC5-8CE2-C1C24558E78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92637" y="2267260"/>
            <a:ext cx="668315" cy="668315"/>
          </a:xfrm>
          <a:prstGeom prst="rect">
            <a:avLst/>
          </a:prstGeom>
        </p:spPr>
      </p:pic>
      <p:grpSp>
        <p:nvGrpSpPr>
          <p:cNvPr id="120" name="Group 223">
            <a:extLst>
              <a:ext uri="{FF2B5EF4-FFF2-40B4-BE49-F238E27FC236}">
                <a16:creationId xmlns:a16="http://schemas.microsoft.com/office/drawing/2014/main" id="{8EE0EC27-5DFC-4463-AD5B-844198091CEA}"/>
              </a:ext>
            </a:extLst>
          </p:cNvPr>
          <p:cNvGrpSpPr/>
          <p:nvPr/>
        </p:nvGrpSpPr>
        <p:grpSpPr>
          <a:xfrm>
            <a:off x="7012699" y="846487"/>
            <a:ext cx="798403" cy="983960"/>
            <a:chOff x="4074772" y="178682"/>
            <a:chExt cx="1081374" cy="1280697"/>
          </a:xfrm>
        </p:grpSpPr>
        <p:grpSp>
          <p:nvGrpSpPr>
            <p:cNvPr id="121" name="Group 224">
              <a:extLst>
                <a:ext uri="{FF2B5EF4-FFF2-40B4-BE49-F238E27FC236}">
                  <a16:creationId xmlns:a16="http://schemas.microsoft.com/office/drawing/2014/main" id="{06E619FD-727E-49C5-A5E0-E06FD19CFE9C}"/>
                </a:ext>
              </a:extLst>
            </p:cNvPr>
            <p:cNvGrpSpPr/>
            <p:nvPr/>
          </p:nvGrpSpPr>
          <p:grpSpPr>
            <a:xfrm>
              <a:off x="4484505" y="178682"/>
              <a:ext cx="261913" cy="323918"/>
              <a:chOff x="1055505" y="4132812"/>
              <a:chExt cx="261913" cy="323918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125" name="Freeform 15">
                <a:extLst>
                  <a:ext uri="{FF2B5EF4-FFF2-40B4-BE49-F238E27FC236}">
                    <a16:creationId xmlns:a16="http://schemas.microsoft.com/office/drawing/2014/main" id="{A39D416D-6223-4D65-9200-4A2C2891E5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505" y="4300651"/>
                <a:ext cx="261913" cy="156079"/>
              </a:xfrm>
              <a:custGeom>
                <a:avLst/>
                <a:gdLst>
                  <a:gd name="T0" fmla="*/ 329 w 440"/>
                  <a:gd name="T1" fmla="*/ 0 h 261"/>
                  <a:gd name="T2" fmla="*/ 220 w 440"/>
                  <a:gd name="T3" fmla="*/ 34 h 261"/>
                  <a:gd name="T4" fmla="*/ 111 w 440"/>
                  <a:gd name="T5" fmla="*/ 0 h 261"/>
                  <a:gd name="T6" fmla="*/ 0 w 440"/>
                  <a:gd name="T7" fmla="*/ 193 h 261"/>
                  <a:gd name="T8" fmla="*/ 0 w 440"/>
                  <a:gd name="T9" fmla="*/ 261 h 261"/>
                  <a:gd name="T10" fmla="*/ 440 w 440"/>
                  <a:gd name="T11" fmla="*/ 261 h 261"/>
                  <a:gd name="T12" fmla="*/ 440 w 440"/>
                  <a:gd name="T13" fmla="*/ 193 h 261"/>
                  <a:gd name="T14" fmla="*/ 329 w 440"/>
                  <a:gd name="T15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0" h="261">
                    <a:moveTo>
                      <a:pt x="329" y="0"/>
                    </a:moveTo>
                    <a:cubicBezTo>
                      <a:pt x="297" y="22"/>
                      <a:pt x="260" y="34"/>
                      <a:pt x="220" y="34"/>
                    </a:cubicBezTo>
                    <a:cubicBezTo>
                      <a:pt x="181" y="34"/>
                      <a:pt x="143" y="22"/>
                      <a:pt x="111" y="0"/>
                    </a:cubicBezTo>
                    <a:cubicBezTo>
                      <a:pt x="45" y="38"/>
                      <a:pt x="0" y="110"/>
                      <a:pt x="0" y="193"/>
                    </a:cubicBezTo>
                    <a:cubicBezTo>
                      <a:pt x="0" y="261"/>
                      <a:pt x="0" y="261"/>
                      <a:pt x="0" y="261"/>
                    </a:cubicBezTo>
                    <a:cubicBezTo>
                      <a:pt x="440" y="261"/>
                      <a:pt x="440" y="261"/>
                      <a:pt x="440" y="261"/>
                    </a:cubicBezTo>
                    <a:cubicBezTo>
                      <a:pt x="440" y="193"/>
                      <a:pt x="440" y="193"/>
                      <a:pt x="440" y="193"/>
                    </a:cubicBezTo>
                    <a:cubicBezTo>
                      <a:pt x="440" y="110"/>
                      <a:pt x="395" y="38"/>
                      <a:pt x="32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Oval 16">
                <a:extLst>
                  <a:ext uri="{FF2B5EF4-FFF2-40B4-BE49-F238E27FC236}">
                    <a16:creationId xmlns:a16="http://schemas.microsoft.com/office/drawing/2014/main" id="{1683FF91-409B-426B-8397-2BCC7116E6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3233" y="4132812"/>
                <a:ext cx="146458" cy="14752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2" name="TextBox 225">
              <a:extLst>
                <a:ext uri="{FF2B5EF4-FFF2-40B4-BE49-F238E27FC236}">
                  <a16:creationId xmlns:a16="http://schemas.microsoft.com/office/drawing/2014/main" id="{51C4A798-DE1B-4034-B946-558BF5032BC8}"/>
                </a:ext>
              </a:extLst>
            </p:cNvPr>
            <p:cNvSpPr txBox="1"/>
            <p:nvPr/>
          </p:nvSpPr>
          <p:spPr>
            <a:xfrm>
              <a:off x="4342324" y="518988"/>
              <a:ext cx="546277" cy="56083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100"/>
                <a:t>Elite Head</a:t>
              </a:r>
            </a:p>
          </p:txBody>
        </p:sp>
        <p:sp>
          <p:nvSpPr>
            <p:cNvPr id="123" name="TextBox 226">
              <a:extLst>
                <a:ext uri="{FF2B5EF4-FFF2-40B4-BE49-F238E27FC236}">
                  <a16:creationId xmlns:a16="http://schemas.microsoft.com/office/drawing/2014/main" id="{98ED72EB-10E6-43AE-898E-C400C1E1BF40}"/>
                </a:ext>
              </a:extLst>
            </p:cNvPr>
            <p:cNvSpPr txBox="1"/>
            <p:nvPr/>
          </p:nvSpPr>
          <p:spPr>
            <a:xfrm>
              <a:off x="4074772" y="1098844"/>
              <a:ext cx="1081374" cy="36053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200"/>
                <a:t>Melina</a:t>
              </a:r>
            </a:p>
          </p:txBody>
        </p:sp>
        <p:sp>
          <p:nvSpPr>
            <p:cNvPr id="124" name="Isosceles Triangle 227">
              <a:extLst>
                <a:ext uri="{FF2B5EF4-FFF2-40B4-BE49-F238E27FC236}">
                  <a16:creationId xmlns:a16="http://schemas.microsoft.com/office/drawing/2014/main" id="{2195AD57-53B6-4D29-BF24-AAD23C5B08D5}"/>
                </a:ext>
              </a:extLst>
            </p:cNvPr>
            <p:cNvSpPr/>
            <p:nvPr/>
          </p:nvSpPr>
          <p:spPr>
            <a:xfrm rot="10800000">
              <a:off x="4582374" y="1057595"/>
              <a:ext cx="66173" cy="57046"/>
            </a:xfrm>
            <a:prstGeom prst="triangle">
              <a:avLst/>
            </a:prstGeom>
            <a:solidFill>
              <a:schemeClr val="tx1">
                <a:lumMod val="85000"/>
                <a:lumOff val="15000"/>
              </a:schemeClr>
            </a:solidFill>
            <a:ln w="9525">
              <a:solidFill>
                <a:schemeClr val="tx1">
                  <a:lumMod val="85000"/>
                  <a:lumOff val="1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8DECC050-43F0-470D-8FF3-B5469EB93A0E}"/>
              </a:ext>
            </a:extLst>
          </p:cNvPr>
          <p:cNvGrpSpPr/>
          <p:nvPr/>
        </p:nvGrpSpPr>
        <p:grpSpPr>
          <a:xfrm>
            <a:off x="6437302" y="1930627"/>
            <a:ext cx="1818677" cy="1689861"/>
            <a:chOff x="6437302" y="1930627"/>
            <a:chExt cx="1818677" cy="1689861"/>
          </a:xfrm>
        </p:grpSpPr>
        <p:sp>
          <p:nvSpPr>
            <p:cNvPr id="128" name="Shape 37717">
              <a:extLst>
                <a:ext uri="{FF2B5EF4-FFF2-40B4-BE49-F238E27FC236}">
                  <a16:creationId xmlns:a16="http://schemas.microsoft.com/office/drawing/2014/main" id="{1324EFCA-B3BF-4145-A4A1-764C99908882}"/>
                </a:ext>
              </a:extLst>
            </p:cNvPr>
            <p:cNvSpPr/>
            <p:nvPr/>
          </p:nvSpPr>
          <p:spPr>
            <a:xfrm>
              <a:off x="6437302" y="1930627"/>
              <a:ext cx="1818677" cy="16898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463" y="0"/>
                  </a:moveTo>
                  <a:cubicBezTo>
                    <a:pt x="11253" y="0"/>
                    <a:pt x="5455" y="0"/>
                    <a:pt x="0" y="0"/>
                  </a:cubicBezTo>
                  <a:cubicBezTo>
                    <a:pt x="3379" y="1974"/>
                    <a:pt x="5079" y="6477"/>
                    <a:pt x="5079" y="10800"/>
                  </a:cubicBezTo>
                  <a:cubicBezTo>
                    <a:pt x="5079" y="15123"/>
                    <a:pt x="3380" y="19626"/>
                    <a:pt x="0" y="21600"/>
                  </a:cubicBezTo>
                  <a:cubicBezTo>
                    <a:pt x="5455" y="21600"/>
                    <a:pt x="11253" y="21600"/>
                    <a:pt x="13463" y="21600"/>
                  </a:cubicBezTo>
                  <a:cubicBezTo>
                    <a:pt x="19057" y="21600"/>
                    <a:pt x="21600" y="16053"/>
                    <a:pt x="21600" y="10800"/>
                  </a:cubicBezTo>
                  <a:cubicBezTo>
                    <a:pt x="21600" y="5547"/>
                    <a:pt x="19057" y="0"/>
                    <a:pt x="13463" y="0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26789" tIns="26789" rIns="26789" bIns="26789" numCol="1" anchor="ctr">
              <a:noAutofit/>
            </a:bodyPr>
            <a:lstStyle/>
            <a:p>
              <a:endParaRPr sz="2532"/>
            </a:p>
          </p:txBody>
        </p:sp>
        <p:sp>
          <p:nvSpPr>
            <p:cNvPr id="129" name="TextBox 44">
              <a:extLst>
                <a:ext uri="{FF2B5EF4-FFF2-40B4-BE49-F238E27FC236}">
                  <a16:creationId xmlns:a16="http://schemas.microsoft.com/office/drawing/2014/main" id="{48EEB8DE-2AF8-4571-8081-40BEAE2EA87E}"/>
                </a:ext>
              </a:extLst>
            </p:cNvPr>
            <p:cNvSpPr txBox="1"/>
            <p:nvPr/>
          </p:nvSpPr>
          <p:spPr>
            <a:xfrm>
              <a:off x="6826061" y="2976361"/>
              <a:ext cx="1227190" cy="33855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cs typeface="Poppins" pitchFamily="2" charset="77"/>
                </a:rPr>
                <a:t>Report</a:t>
              </a:r>
            </a:p>
          </p:txBody>
        </p:sp>
        <p:pic>
          <p:nvPicPr>
            <p:cNvPr id="132" name="Grafik 131" descr="Bücher mit einfarbiger Füllung">
              <a:extLst>
                <a:ext uri="{FF2B5EF4-FFF2-40B4-BE49-F238E27FC236}">
                  <a16:creationId xmlns:a16="http://schemas.microsoft.com/office/drawing/2014/main" id="{CA24524D-51AF-4B62-BEB6-96E9CA2635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206995" y="2298997"/>
              <a:ext cx="543984" cy="543984"/>
            </a:xfrm>
            <a:prstGeom prst="rect">
              <a:avLst/>
            </a:prstGeom>
          </p:spPr>
        </p:pic>
      </p:grpSp>
      <p:sp>
        <p:nvSpPr>
          <p:cNvPr id="133" name="TextBox 51">
            <a:extLst>
              <a:ext uri="{FF2B5EF4-FFF2-40B4-BE49-F238E27FC236}">
                <a16:creationId xmlns:a16="http://schemas.microsoft.com/office/drawing/2014/main" id="{E7C10D89-0B22-415E-B65E-90A0A187BF7C}"/>
              </a:ext>
            </a:extLst>
          </p:cNvPr>
          <p:cNvSpPr txBox="1"/>
          <p:nvPr/>
        </p:nvSpPr>
        <p:spPr>
          <a:xfrm>
            <a:off x="2481236" y="3703522"/>
            <a:ext cx="1818677" cy="5313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Database</a:t>
            </a:r>
          </a:p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Web design</a:t>
            </a:r>
          </a:p>
        </p:txBody>
      </p:sp>
      <p:sp>
        <p:nvSpPr>
          <p:cNvPr id="134" name="TextBox 51">
            <a:extLst>
              <a:ext uri="{FF2B5EF4-FFF2-40B4-BE49-F238E27FC236}">
                <a16:creationId xmlns:a16="http://schemas.microsoft.com/office/drawing/2014/main" id="{AB79ECD5-6241-4E45-8EE8-0FF773D70EA5}"/>
              </a:ext>
            </a:extLst>
          </p:cNvPr>
          <p:cNvSpPr txBox="1"/>
          <p:nvPr/>
        </p:nvSpPr>
        <p:spPr>
          <a:xfrm>
            <a:off x="4461236" y="3697327"/>
            <a:ext cx="1818677" cy="9930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Technical Setup</a:t>
            </a:r>
          </a:p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CI/CD</a:t>
            </a:r>
          </a:p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Testing</a:t>
            </a:r>
          </a:p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200"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35" name="TextBox 51">
            <a:extLst>
              <a:ext uri="{FF2B5EF4-FFF2-40B4-BE49-F238E27FC236}">
                <a16:creationId xmlns:a16="http://schemas.microsoft.com/office/drawing/2014/main" id="{25A045A4-BCA5-4A01-BCE5-226FBCA719F3}"/>
              </a:ext>
            </a:extLst>
          </p:cNvPr>
          <p:cNvSpPr txBox="1"/>
          <p:nvPr/>
        </p:nvSpPr>
        <p:spPr>
          <a:xfrm>
            <a:off x="6437301" y="3697327"/>
            <a:ext cx="1818677" cy="53136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Final Report</a:t>
            </a:r>
          </a:p>
          <a:p>
            <a:pPr marL="171450" indent="-171450">
              <a:lnSpc>
                <a:spcPts val="175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200">
                <a:ea typeface="Lato Light" panose="020F0502020204030203" pitchFamily="34" charset="0"/>
                <a:cs typeface="Lato Light" panose="020F0502020204030203" pitchFamily="34" charset="0"/>
              </a:rPr>
              <a:t>Video</a:t>
            </a:r>
          </a:p>
        </p:txBody>
      </p:sp>
      <p:sp>
        <p:nvSpPr>
          <p:cNvPr id="2" name="NavigationTriangle">
            <a:extLst>
              <a:ext uri="{FF2B5EF4-FFF2-40B4-BE49-F238E27FC236}">
                <a16:creationId xmlns:a16="http://schemas.microsoft.com/office/drawing/2014/main" id="{CF0B319F-2DA8-4989-A781-52014298DCB1}"/>
              </a:ext>
            </a:extLst>
          </p:cNvPr>
          <p:cNvSpPr/>
          <p:nvPr/>
        </p:nvSpPr>
        <p:spPr>
          <a:xfrm rot="16200000">
            <a:off x="8075155" y="-2144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aphicFrame>
        <p:nvGraphicFramePr>
          <p:cNvPr id="63" name="Object 62" hidden="1">
            <a:extLst>
              <a:ext uri="{FF2B5EF4-FFF2-40B4-BE49-F238E27FC236}">
                <a16:creationId xmlns:a16="http://schemas.microsoft.com/office/drawing/2014/main" id="{17E3836A-2D19-4AC9-826A-53CCDED574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63" name="Object 62" hidden="1">
                        <a:extLst>
                          <a:ext uri="{FF2B5EF4-FFF2-40B4-BE49-F238E27FC236}">
                            <a16:creationId xmlns:a16="http://schemas.microsoft.com/office/drawing/2014/main" id="{17E3836A-2D19-4AC9-826A-53CCDED574B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4" name="Group 63">
            <a:extLst>
              <a:ext uri="{FF2B5EF4-FFF2-40B4-BE49-F238E27FC236}">
                <a16:creationId xmlns:a16="http://schemas.microsoft.com/office/drawing/2014/main" id="{970CCC6F-4027-4BD6-8FF5-60F99F440BCF}"/>
              </a:ext>
            </a:extLst>
          </p:cNvPr>
          <p:cNvGrpSpPr>
            <a:grpSpLocks noChangeAspect="1"/>
          </p:cNvGrpSpPr>
          <p:nvPr/>
        </p:nvGrpSpPr>
        <p:grpSpPr>
          <a:xfrm>
            <a:off x="8611619" y="76851"/>
            <a:ext cx="457200" cy="457200"/>
            <a:chOff x="7324950" y="3200401"/>
            <a:chExt cx="457200" cy="457200"/>
          </a:xfrm>
        </p:grpSpPr>
        <p:sp>
          <p:nvSpPr>
            <p:cNvPr id="65" name="AutoShape 17">
              <a:extLst>
                <a:ext uri="{FF2B5EF4-FFF2-40B4-BE49-F238E27FC236}">
                  <a16:creationId xmlns:a16="http://schemas.microsoft.com/office/drawing/2014/main" id="{717491A6-DA46-41AF-A0F0-45736C5C9BF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9">
              <a:extLst>
                <a:ext uri="{FF2B5EF4-FFF2-40B4-BE49-F238E27FC236}">
                  <a16:creationId xmlns:a16="http://schemas.microsoft.com/office/drawing/2014/main" id="{B90A148A-B7CD-49C0-BDA1-03040A5950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7" y="3230227"/>
              <a:ext cx="402167" cy="398126"/>
            </a:xfrm>
            <a:custGeom>
              <a:avLst/>
              <a:gdLst>
                <a:gd name="T0" fmla="*/ 879 w 879"/>
                <a:gd name="T1" fmla="*/ 273 h 870"/>
                <a:gd name="T2" fmla="*/ 606 w 879"/>
                <a:gd name="T3" fmla="*/ 0 h 870"/>
                <a:gd name="T4" fmla="*/ 333 w 879"/>
                <a:gd name="T5" fmla="*/ 273 h 870"/>
                <a:gd name="T6" fmla="*/ 334 w 879"/>
                <a:gd name="T7" fmla="*/ 296 h 870"/>
                <a:gd name="T8" fmla="*/ 312 w 879"/>
                <a:gd name="T9" fmla="*/ 296 h 870"/>
                <a:gd name="T10" fmla="*/ 292 w 879"/>
                <a:gd name="T11" fmla="*/ 296 h 870"/>
                <a:gd name="T12" fmla="*/ 253 w 879"/>
                <a:gd name="T13" fmla="*/ 261 h 870"/>
                <a:gd name="T14" fmla="*/ 190 w 879"/>
                <a:gd name="T15" fmla="*/ 280 h 870"/>
                <a:gd name="T16" fmla="*/ 131 w 879"/>
                <a:gd name="T17" fmla="*/ 313 h 870"/>
                <a:gd name="T18" fmla="*/ 131 w 879"/>
                <a:gd name="T19" fmla="*/ 366 h 870"/>
                <a:gd name="T20" fmla="*/ 70 w 879"/>
                <a:gd name="T21" fmla="*/ 447 h 870"/>
                <a:gd name="T22" fmla="*/ 22 w 879"/>
                <a:gd name="T23" fmla="*/ 462 h 870"/>
                <a:gd name="T24" fmla="*/ 3 w 879"/>
                <a:gd name="T25" fmla="*/ 593 h 870"/>
                <a:gd name="T26" fmla="*/ 48 w 879"/>
                <a:gd name="T27" fmla="*/ 619 h 870"/>
                <a:gd name="T28" fmla="*/ 66 w 879"/>
                <a:gd name="T29" fmla="*/ 672 h 870"/>
                <a:gd name="T30" fmla="*/ 90 w 879"/>
                <a:gd name="T31" fmla="*/ 718 h 870"/>
                <a:gd name="T32" fmla="*/ 78 w 879"/>
                <a:gd name="T33" fmla="*/ 768 h 870"/>
                <a:gd name="T34" fmla="*/ 181 w 879"/>
                <a:gd name="T35" fmla="*/ 847 h 870"/>
                <a:gd name="T36" fmla="*/ 225 w 879"/>
                <a:gd name="T37" fmla="*/ 820 h 870"/>
                <a:gd name="T38" fmla="*/ 315 w 879"/>
                <a:gd name="T39" fmla="*/ 836 h 870"/>
                <a:gd name="T40" fmla="*/ 336 w 879"/>
                <a:gd name="T41" fmla="*/ 834 h 870"/>
                <a:gd name="T42" fmla="*/ 375 w 879"/>
                <a:gd name="T43" fmla="*/ 870 h 870"/>
                <a:gd name="T44" fmla="*/ 435 w 879"/>
                <a:gd name="T45" fmla="*/ 851 h 870"/>
                <a:gd name="T46" fmla="*/ 491 w 879"/>
                <a:gd name="T47" fmla="*/ 819 h 870"/>
                <a:gd name="T48" fmla="*/ 491 w 879"/>
                <a:gd name="T49" fmla="*/ 768 h 870"/>
                <a:gd name="T50" fmla="*/ 558 w 879"/>
                <a:gd name="T51" fmla="*/ 677 h 870"/>
                <a:gd name="T52" fmla="*/ 606 w 879"/>
                <a:gd name="T53" fmla="*/ 662 h 870"/>
                <a:gd name="T54" fmla="*/ 622 w 879"/>
                <a:gd name="T55" fmla="*/ 548 h 870"/>
                <a:gd name="T56" fmla="*/ 622 w 879"/>
                <a:gd name="T57" fmla="*/ 546 h 870"/>
                <a:gd name="T58" fmla="*/ 879 w 879"/>
                <a:gd name="T59" fmla="*/ 273 h 870"/>
                <a:gd name="T60" fmla="*/ 367 w 879"/>
                <a:gd name="T61" fmla="*/ 690 h 870"/>
                <a:gd name="T62" fmla="*/ 313 w 879"/>
                <a:gd name="T63" fmla="*/ 702 h 870"/>
                <a:gd name="T64" fmla="*/ 189 w 879"/>
                <a:gd name="T65" fmla="*/ 619 h 870"/>
                <a:gd name="T66" fmla="*/ 259 w 879"/>
                <a:gd name="T67" fmla="*/ 442 h 870"/>
                <a:gd name="T68" fmla="*/ 311 w 879"/>
                <a:gd name="T69" fmla="*/ 430 h 870"/>
                <a:gd name="T70" fmla="*/ 436 w 879"/>
                <a:gd name="T71" fmla="*/ 512 h 870"/>
                <a:gd name="T72" fmla="*/ 367 w 879"/>
                <a:gd name="T73" fmla="*/ 690 h 870"/>
                <a:gd name="T74" fmla="*/ 770 w 879"/>
                <a:gd name="T75" fmla="*/ 157 h 870"/>
                <a:gd name="T76" fmla="*/ 636 w 879"/>
                <a:gd name="T77" fmla="*/ 273 h 870"/>
                <a:gd name="T78" fmla="*/ 636 w 879"/>
                <a:gd name="T79" fmla="*/ 274 h 870"/>
                <a:gd name="T80" fmla="*/ 606 w 879"/>
                <a:gd name="T81" fmla="*/ 303 h 870"/>
                <a:gd name="T82" fmla="*/ 576 w 879"/>
                <a:gd name="T83" fmla="*/ 275 h 870"/>
                <a:gd name="T84" fmla="*/ 484 w 879"/>
                <a:gd name="T85" fmla="*/ 210 h 870"/>
                <a:gd name="T86" fmla="*/ 481 w 879"/>
                <a:gd name="T87" fmla="*/ 195 h 870"/>
                <a:gd name="T88" fmla="*/ 496 w 879"/>
                <a:gd name="T89" fmla="*/ 191 h 870"/>
                <a:gd name="T90" fmla="*/ 595 w 879"/>
                <a:gd name="T91" fmla="*/ 246 h 870"/>
                <a:gd name="T92" fmla="*/ 606 w 879"/>
                <a:gd name="T93" fmla="*/ 244 h 870"/>
                <a:gd name="T94" fmla="*/ 613 w 879"/>
                <a:gd name="T95" fmla="*/ 245 h 870"/>
                <a:gd name="T96" fmla="*/ 756 w 879"/>
                <a:gd name="T97" fmla="*/ 138 h 870"/>
                <a:gd name="T98" fmla="*/ 764 w 879"/>
                <a:gd name="T99" fmla="*/ 136 h 870"/>
                <a:gd name="T100" fmla="*/ 772 w 879"/>
                <a:gd name="T101" fmla="*/ 140 h 870"/>
                <a:gd name="T102" fmla="*/ 770 w 879"/>
                <a:gd name="T103" fmla="*/ 157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79" h="870">
                  <a:moveTo>
                    <a:pt x="879" y="273"/>
                  </a:moveTo>
                  <a:cubicBezTo>
                    <a:pt x="879" y="122"/>
                    <a:pt x="757" y="0"/>
                    <a:pt x="606" y="0"/>
                  </a:cubicBezTo>
                  <a:cubicBezTo>
                    <a:pt x="455" y="0"/>
                    <a:pt x="333" y="122"/>
                    <a:pt x="333" y="273"/>
                  </a:cubicBezTo>
                  <a:cubicBezTo>
                    <a:pt x="333" y="281"/>
                    <a:pt x="333" y="289"/>
                    <a:pt x="334" y="296"/>
                  </a:cubicBezTo>
                  <a:cubicBezTo>
                    <a:pt x="326" y="296"/>
                    <a:pt x="319" y="296"/>
                    <a:pt x="312" y="296"/>
                  </a:cubicBezTo>
                  <a:cubicBezTo>
                    <a:pt x="305" y="296"/>
                    <a:pt x="299" y="296"/>
                    <a:pt x="292" y="296"/>
                  </a:cubicBezTo>
                  <a:cubicBezTo>
                    <a:pt x="253" y="261"/>
                    <a:pt x="253" y="261"/>
                    <a:pt x="253" y="261"/>
                  </a:cubicBezTo>
                  <a:cubicBezTo>
                    <a:pt x="233" y="266"/>
                    <a:pt x="211" y="271"/>
                    <a:pt x="190" y="280"/>
                  </a:cubicBezTo>
                  <a:cubicBezTo>
                    <a:pt x="169" y="290"/>
                    <a:pt x="149" y="301"/>
                    <a:pt x="131" y="313"/>
                  </a:cubicBezTo>
                  <a:cubicBezTo>
                    <a:pt x="131" y="366"/>
                    <a:pt x="131" y="366"/>
                    <a:pt x="131" y="366"/>
                  </a:cubicBezTo>
                  <a:cubicBezTo>
                    <a:pt x="106" y="389"/>
                    <a:pt x="85" y="416"/>
                    <a:pt x="70" y="447"/>
                  </a:cubicBezTo>
                  <a:cubicBezTo>
                    <a:pt x="22" y="462"/>
                    <a:pt x="22" y="462"/>
                    <a:pt x="22" y="462"/>
                  </a:cubicBezTo>
                  <a:cubicBezTo>
                    <a:pt x="6" y="503"/>
                    <a:pt x="0" y="547"/>
                    <a:pt x="3" y="593"/>
                  </a:cubicBezTo>
                  <a:cubicBezTo>
                    <a:pt x="48" y="619"/>
                    <a:pt x="48" y="619"/>
                    <a:pt x="48" y="619"/>
                  </a:cubicBezTo>
                  <a:cubicBezTo>
                    <a:pt x="52" y="636"/>
                    <a:pt x="57" y="655"/>
                    <a:pt x="66" y="672"/>
                  </a:cubicBezTo>
                  <a:cubicBezTo>
                    <a:pt x="73" y="688"/>
                    <a:pt x="80" y="704"/>
                    <a:pt x="90" y="718"/>
                  </a:cubicBezTo>
                  <a:cubicBezTo>
                    <a:pt x="78" y="768"/>
                    <a:pt x="78" y="768"/>
                    <a:pt x="78" y="768"/>
                  </a:cubicBezTo>
                  <a:cubicBezTo>
                    <a:pt x="107" y="802"/>
                    <a:pt x="142" y="828"/>
                    <a:pt x="181" y="847"/>
                  </a:cubicBezTo>
                  <a:cubicBezTo>
                    <a:pt x="225" y="820"/>
                    <a:pt x="225" y="820"/>
                    <a:pt x="225" y="820"/>
                  </a:cubicBezTo>
                  <a:cubicBezTo>
                    <a:pt x="253" y="830"/>
                    <a:pt x="283" y="836"/>
                    <a:pt x="315" y="836"/>
                  </a:cubicBezTo>
                  <a:cubicBezTo>
                    <a:pt x="322" y="836"/>
                    <a:pt x="329" y="835"/>
                    <a:pt x="336" y="834"/>
                  </a:cubicBezTo>
                  <a:cubicBezTo>
                    <a:pt x="375" y="870"/>
                    <a:pt x="375" y="870"/>
                    <a:pt x="375" y="870"/>
                  </a:cubicBezTo>
                  <a:cubicBezTo>
                    <a:pt x="394" y="866"/>
                    <a:pt x="415" y="859"/>
                    <a:pt x="435" y="851"/>
                  </a:cubicBezTo>
                  <a:cubicBezTo>
                    <a:pt x="455" y="841"/>
                    <a:pt x="473" y="831"/>
                    <a:pt x="491" y="819"/>
                  </a:cubicBezTo>
                  <a:cubicBezTo>
                    <a:pt x="491" y="768"/>
                    <a:pt x="491" y="768"/>
                    <a:pt x="491" y="768"/>
                  </a:cubicBezTo>
                  <a:cubicBezTo>
                    <a:pt x="520" y="742"/>
                    <a:pt x="542" y="711"/>
                    <a:pt x="558" y="677"/>
                  </a:cubicBezTo>
                  <a:cubicBezTo>
                    <a:pt x="606" y="662"/>
                    <a:pt x="606" y="662"/>
                    <a:pt x="606" y="662"/>
                  </a:cubicBezTo>
                  <a:cubicBezTo>
                    <a:pt x="619" y="626"/>
                    <a:pt x="624" y="587"/>
                    <a:pt x="622" y="548"/>
                  </a:cubicBezTo>
                  <a:cubicBezTo>
                    <a:pt x="622" y="547"/>
                    <a:pt x="622" y="546"/>
                    <a:pt x="622" y="546"/>
                  </a:cubicBezTo>
                  <a:cubicBezTo>
                    <a:pt x="765" y="537"/>
                    <a:pt x="879" y="419"/>
                    <a:pt x="879" y="273"/>
                  </a:cubicBezTo>
                  <a:close/>
                  <a:moveTo>
                    <a:pt x="367" y="690"/>
                  </a:moveTo>
                  <a:cubicBezTo>
                    <a:pt x="349" y="698"/>
                    <a:pt x="331" y="702"/>
                    <a:pt x="313" y="702"/>
                  </a:cubicBezTo>
                  <a:cubicBezTo>
                    <a:pt x="261" y="702"/>
                    <a:pt x="211" y="670"/>
                    <a:pt x="189" y="619"/>
                  </a:cubicBezTo>
                  <a:cubicBezTo>
                    <a:pt x="159" y="550"/>
                    <a:pt x="191" y="471"/>
                    <a:pt x="259" y="442"/>
                  </a:cubicBezTo>
                  <a:cubicBezTo>
                    <a:pt x="276" y="434"/>
                    <a:pt x="294" y="431"/>
                    <a:pt x="311" y="430"/>
                  </a:cubicBezTo>
                  <a:cubicBezTo>
                    <a:pt x="364" y="430"/>
                    <a:pt x="415" y="461"/>
                    <a:pt x="436" y="512"/>
                  </a:cubicBezTo>
                  <a:cubicBezTo>
                    <a:pt x="466" y="580"/>
                    <a:pt x="435" y="661"/>
                    <a:pt x="367" y="690"/>
                  </a:cubicBezTo>
                  <a:close/>
                  <a:moveTo>
                    <a:pt x="770" y="157"/>
                  </a:moveTo>
                  <a:cubicBezTo>
                    <a:pt x="770" y="157"/>
                    <a:pt x="770" y="157"/>
                    <a:pt x="636" y="273"/>
                  </a:cubicBezTo>
                  <a:cubicBezTo>
                    <a:pt x="636" y="273"/>
                    <a:pt x="636" y="273"/>
                    <a:pt x="636" y="274"/>
                  </a:cubicBezTo>
                  <a:cubicBezTo>
                    <a:pt x="636" y="290"/>
                    <a:pt x="622" y="303"/>
                    <a:pt x="606" y="303"/>
                  </a:cubicBezTo>
                  <a:cubicBezTo>
                    <a:pt x="590" y="303"/>
                    <a:pt x="577" y="290"/>
                    <a:pt x="576" y="275"/>
                  </a:cubicBezTo>
                  <a:cubicBezTo>
                    <a:pt x="576" y="275"/>
                    <a:pt x="576" y="275"/>
                    <a:pt x="484" y="210"/>
                  </a:cubicBezTo>
                  <a:cubicBezTo>
                    <a:pt x="478" y="208"/>
                    <a:pt x="477" y="201"/>
                    <a:pt x="481" y="195"/>
                  </a:cubicBezTo>
                  <a:cubicBezTo>
                    <a:pt x="484" y="190"/>
                    <a:pt x="490" y="188"/>
                    <a:pt x="496" y="191"/>
                  </a:cubicBezTo>
                  <a:cubicBezTo>
                    <a:pt x="496" y="191"/>
                    <a:pt x="496" y="191"/>
                    <a:pt x="595" y="246"/>
                  </a:cubicBezTo>
                  <a:cubicBezTo>
                    <a:pt x="599" y="245"/>
                    <a:pt x="602" y="244"/>
                    <a:pt x="606" y="244"/>
                  </a:cubicBezTo>
                  <a:cubicBezTo>
                    <a:pt x="608" y="244"/>
                    <a:pt x="611" y="244"/>
                    <a:pt x="613" y="245"/>
                  </a:cubicBezTo>
                  <a:cubicBezTo>
                    <a:pt x="613" y="245"/>
                    <a:pt x="603" y="254"/>
                    <a:pt x="756" y="138"/>
                  </a:cubicBezTo>
                  <a:cubicBezTo>
                    <a:pt x="758" y="137"/>
                    <a:pt x="762" y="136"/>
                    <a:pt x="764" y="136"/>
                  </a:cubicBezTo>
                  <a:cubicBezTo>
                    <a:pt x="767" y="136"/>
                    <a:pt x="770" y="138"/>
                    <a:pt x="772" y="140"/>
                  </a:cubicBezTo>
                  <a:cubicBezTo>
                    <a:pt x="776" y="145"/>
                    <a:pt x="776" y="153"/>
                    <a:pt x="770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9715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>
            <a:extLst>
              <a:ext uri="{FF2B5EF4-FFF2-40B4-BE49-F238E27FC236}">
                <a16:creationId xmlns:a16="http://schemas.microsoft.com/office/drawing/2014/main" id="{A48EF469-1C3E-4235-9963-EE472B980D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23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4" name="Object 53" hidden="1">
                        <a:extLst>
                          <a:ext uri="{FF2B5EF4-FFF2-40B4-BE49-F238E27FC236}">
                            <a16:creationId xmlns:a16="http://schemas.microsoft.com/office/drawing/2014/main" id="{A48EF469-1C3E-4235-9963-EE472B980D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de-DE">
                <a:ea typeface="+mj-lt"/>
                <a:cs typeface="+mj-lt"/>
              </a:rPr>
              <a:t>Tools we use for an efficient setup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 err="1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E99ADA8-1E68-4912-B2FD-1DCC39DA30BB}"/>
              </a:ext>
            </a:extLst>
          </p:cNvPr>
          <p:cNvSpPr/>
          <p:nvPr/>
        </p:nvSpPr>
        <p:spPr>
          <a:xfrm>
            <a:off x="3092610" y="5737116"/>
            <a:ext cx="528158" cy="246221"/>
          </a:xfrm>
          <a:prstGeom prst="rect">
            <a:avLst/>
          </a:prstGeom>
        </p:spPr>
        <p:txBody>
          <a:bodyPr wrap="none" lIns="0" tIns="0" rIns="137160" bIns="0" anchor="ctr">
            <a:spAutoFit/>
          </a:bodyPr>
          <a:lstStyle/>
          <a:p>
            <a:pPr algn="r">
              <a:buSzPct val="100000"/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C5184F-5B64-41D3-A0D8-78E0C3564C62}"/>
              </a:ext>
            </a:extLst>
          </p:cNvPr>
          <p:cNvCxnSpPr/>
          <p:nvPr/>
        </p:nvCxnSpPr>
        <p:spPr>
          <a:xfrm flipH="1">
            <a:off x="3617913" y="5860227"/>
            <a:ext cx="2162400" cy="0"/>
          </a:xfrm>
          <a:prstGeom prst="line">
            <a:avLst/>
          </a:prstGeom>
          <a:ln w="9525">
            <a:solidFill>
              <a:schemeClr val="accent5"/>
            </a:solidFill>
            <a:miter lim="800000"/>
            <a:headEnd type="oval" w="med" len="med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3A22FE4-4474-423F-962C-B48AACEC0549}"/>
              </a:ext>
            </a:extLst>
          </p:cNvPr>
          <p:cNvGrpSpPr/>
          <p:nvPr/>
        </p:nvGrpSpPr>
        <p:grpSpPr>
          <a:xfrm>
            <a:off x="2883294" y="930118"/>
            <a:ext cx="3578669" cy="3584012"/>
            <a:chOff x="4321349" y="2313118"/>
            <a:chExt cx="3578669" cy="3584012"/>
          </a:xfrm>
        </p:grpSpPr>
        <p:sp>
          <p:nvSpPr>
            <p:cNvPr id="30" name="Freeform 102">
              <a:extLst>
                <a:ext uri="{FF2B5EF4-FFF2-40B4-BE49-F238E27FC236}">
                  <a16:creationId xmlns:a16="http://schemas.microsoft.com/office/drawing/2014/main" id="{74DF0B7A-EEBE-4F59-A898-BECC72F25845}"/>
                </a:ext>
              </a:extLst>
            </p:cNvPr>
            <p:cNvSpPr/>
            <p:nvPr/>
          </p:nvSpPr>
          <p:spPr>
            <a:xfrm rot="8100000">
              <a:off x="6167402" y="3794764"/>
              <a:ext cx="1379071" cy="2102366"/>
            </a:xfrm>
            <a:custGeom>
              <a:avLst/>
              <a:gdLst>
                <a:gd name="connsiteX0" fmla="*/ 0 w 2225674"/>
                <a:gd name="connsiteY0" fmla="*/ 1112837 h 2225674"/>
                <a:gd name="connsiteX1" fmla="*/ 325944 w 2225674"/>
                <a:gd name="connsiteY1" fmla="*/ 325943 h 2225674"/>
                <a:gd name="connsiteX2" fmla="*/ 1112839 w 2225674"/>
                <a:gd name="connsiteY2" fmla="*/ 2 h 2225674"/>
                <a:gd name="connsiteX3" fmla="*/ 1899733 w 2225674"/>
                <a:gd name="connsiteY3" fmla="*/ 325946 h 2225674"/>
                <a:gd name="connsiteX4" fmla="*/ 2225674 w 2225674"/>
                <a:gd name="connsiteY4" fmla="*/ 1112841 h 2225674"/>
                <a:gd name="connsiteX5" fmla="*/ 1899731 w 2225674"/>
                <a:gd name="connsiteY5" fmla="*/ 1899736 h 2225674"/>
                <a:gd name="connsiteX6" fmla="*/ 1112836 w 2225674"/>
                <a:gd name="connsiteY6" fmla="*/ 2225678 h 2225674"/>
                <a:gd name="connsiteX7" fmla="*/ 325941 w 2225674"/>
                <a:gd name="connsiteY7" fmla="*/ 1899735 h 2225674"/>
                <a:gd name="connsiteX8" fmla="*/ -1 w 2225674"/>
                <a:gd name="connsiteY8" fmla="*/ 1112840 h 2225674"/>
                <a:gd name="connsiteX9" fmla="*/ 0 w 2225674"/>
                <a:gd name="connsiteY9" fmla="*/ 1112837 h 2225674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676" h="3378202">
                  <a:moveTo>
                    <a:pt x="1" y="1112836"/>
                  </a:moveTo>
                  <a:cubicBezTo>
                    <a:pt x="1" y="817693"/>
                    <a:pt x="117247" y="534639"/>
                    <a:pt x="325945" y="325942"/>
                  </a:cubicBezTo>
                  <a:cubicBezTo>
                    <a:pt x="534643" y="117245"/>
                    <a:pt x="817698" y="0"/>
                    <a:pt x="1112840" y="1"/>
                  </a:cubicBezTo>
                  <a:cubicBezTo>
                    <a:pt x="1407983" y="1"/>
                    <a:pt x="1691037" y="117247"/>
                    <a:pt x="1899734" y="325945"/>
                  </a:cubicBezTo>
                  <a:cubicBezTo>
                    <a:pt x="2108431" y="534643"/>
                    <a:pt x="2225676" y="817698"/>
                    <a:pt x="2225675" y="1112840"/>
                  </a:cubicBezTo>
                  <a:cubicBezTo>
                    <a:pt x="2225675" y="1407983"/>
                    <a:pt x="2151880" y="1566624"/>
                    <a:pt x="1966407" y="1942597"/>
                  </a:cubicBezTo>
                  <a:cubicBezTo>
                    <a:pt x="1686646" y="2421132"/>
                    <a:pt x="1421173" y="2909192"/>
                    <a:pt x="1127125" y="3378202"/>
                  </a:cubicBezTo>
                  <a:lnTo>
                    <a:pt x="259267" y="1894972"/>
                  </a:lnTo>
                  <a:cubicBezTo>
                    <a:pt x="59507" y="1528524"/>
                    <a:pt x="0" y="1407982"/>
                    <a:pt x="0" y="1112839"/>
                  </a:cubicBezTo>
                  <a:cubicBezTo>
                    <a:pt x="0" y="1112838"/>
                    <a:pt x="1" y="1112837"/>
                    <a:pt x="1" y="1112836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38100">
              <a:solidFill>
                <a:srgbClr val="F2F2F2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600">
                <a:solidFill>
                  <a:srgbClr val="575757"/>
                </a:solidFill>
                <a:cs typeface="Arial" pitchFamily="34" charset="0"/>
              </a:endParaRPr>
            </a:p>
          </p:txBody>
        </p:sp>
        <p:sp>
          <p:nvSpPr>
            <p:cNvPr id="31" name="Freeform 96">
              <a:extLst>
                <a:ext uri="{FF2B5EF4-FFF2-40B4-BE49-F238E27FC236}">
                  <a16:creationId xmlns:a16="http://schemas.microsoft.com/office/drawing/2014/main" id="{D45DE38D-A90E-4A45-BD6F-0900A1AD4D35}"/>
                </a:ext>
              </a:extLst>
            </p:cNvPr>
            <p:cNvSpPr/>
            <p:nvPr/>
          </p:nvSpPr>
          <p:spPr>
            <a:xfrm rot="13500000">
              <a:off x="4675392" y="3800208"/>
              <a:ext cx="1385111" cy="2093198"/>
            </a:xfrm>
            <a:custGeom>
              <a:avLst/>
              <a:gdLst>
                <a:gd name="connsiteX0" fmla="*/ 0 w 2225674"/>
                <a:gd name="connsiteY0" fmla="*/ 1112837 h 2225674"/>
                <a:gd name="connsiteX1" fmla="*/ 325944 w 2225674"/>
                <a:gd name="connsiteY1" fmla="*/ 325943 h 2225674"/>
                <a:gd name="connsiteX2" fmla="*/ 1112839 w 2225674"/>
                <a:gd name="connsiteY2" fmla="*/ 2 h 2225674"/>
                <a:gd name="connsiteX3" fmla="*/ 1899733 w 2225674"/>
                <a:gd name="connsiteY3" fmla="*/ 325946 h 2225674"/>
                <a:gd name="connsiteX4" fmla="*/ 2225674 w 2225674"/>
                <a:gd name="connsiteY4" fmla="*/ 1112841 h 2225674"/>
                <a:gd name="connsiteX5" fmla="*/ 1899731 w 2225674"/>
                <a:gd name="connsiteY5" fmla="*/ 1899736 h 2225674"/>
                <a:gd name="connsiteX6" fmla="*/ 1112836 w 2225674"/>
                <a:gd name="connsiteY6" fmla="*/ 2225678 h 2225674"/>
                <a:gd name="connsiteX7" fmla="*/ 325941 w 2225674"/>
                <a:gd name="connsiteY7" fmla="*/ 1899735 h 2225674"/>
                <a:gd name="connsiteX8" fmla="*/ -1 w 2225674"/>
                <a:gd name="connsiteY8" fmla="*/ 1112840 h 2225674"/>
                <a:gd name="connsiteX9" fmla="*/ 0 w 2225674"/>
                <a:gd name="connsiteY9" fmla="*/ 1112837 h 2225674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676" h="3378202">
                  <a:moveTo>
                    <a:pt x="1" y="1112836"/>
                  </a:moveTo>
                  <a:cubicBezTo>
                    <a:pt x="1" y="817693"/>
                    <a:pt x="117247" y="534639"/>
                    <a:pt x="325945" y="325942"/>
                  </a:cubicBezTo>
                  <a:cubicBezTo>
                    <a:pt x="534643" y="117245"/>
                    <a:pt x="817698" y="0"/>
                    <a:pt x="1112840" y="1"/>
                  </a:cubicBezTo>
                  <a:cubicBezTo>
                    <a:pt x="1407983" y="1"/>
                    <a:pt x="1691037" y="117247"/>
                    <a:pt x="1899734" y="325945"/>
                  </a:cubicBezTo>
                  <a:cubicBezTo>
                    <a:pt x="2108431" y="534643"/>
                    <a:pt x="2225676" y="817698"/>
                    <a:pt x="2225675" y="1112840"/>
                  </a:cubicBezTo>
                  <a:cubicBezTo>
                    <a:pt x="2225675" y="1407983"/>
                    <a:pt x="2151880" y="1566624"/>
                    <a:pt x="1966407" y="1942597"/>
                  </a:cubicBezTo>
                  <a:cubicBezTo>
                    <a:pt x="1686646" y="2421132"/>
                    <a:pt x="1421173" y="2909192"/>
                    <a:pt x="1127125" y="3378202"/>
                  </a:cubicBezTo>
                  <a:lnTo>
                    <a:pt x="259267" y="1894972"/>
                  </a:lnTo>
                  <a:cubicBezTo>
                    <a:pt x="59507" y="1528524"/>
                    <a:pt x="0" y="1407982"/>
                    <a:pt x="0" y="1112839"/>
                  </a:cubicBezTo>
                  <a:cubicBezTo>
                    <a:pt x="0" y="1112838"/>
                    <a:pt x="1" y="1112837"/>
                    <a:pt x="1" y="1112836"/>
                  </a:cubicBezTo>
                  <a:close/>
                </a:path>
              </a:pathLst>
            </a:custGeom>
            <a:solidFill>
              <a:schemeClr val="tx2"/>
            </a:solidFill>
            <a:ln w="38100">
              <a:solidFill>
                <a:srgbClr val="F2F2F2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600">
                <a:solidFill>
                  <a:srgbClr val="575757"/>
                </a:solidFill>
                <a:cs typeface="Arial" pitchFamily="34" charset="0"/>
              </a:endParaRPr>
            </a:p>
          </p:txBody>
        </p:sp>
        <p:sp>
          <p:nvSpPr>
            <p:cNvPr id="32" name="Freeform 99">
              <a:extLst>
                <a:ext uri="{FF2B5EF4-FFF2-40B4-BE49-F238E27FC236}">
                  <a16:creationId xmlns:a16="http://schemas.microsoft.com/office/drawing/2014/main" id="{74E9D790-3780-4637-AF54-556F5B30F2E2}"/>
                </a:ext>
              </a:extLst>
            </p:cNvPr>
            <p:cNvSpPr/>
            <p:nvPr/>
          </p:nvSpPr>
          <p:spPr>
            <a:xfrm rot="8100000" flipH="1" flipV="1">
              <a:off x="4677360" y="2313118"/>
              <a:ext cx="1385111" cy="2093198"/>
            </a:xfrm>
            <a:custGeom>
              <a:avLst/>
              <a:gdLst>
                <a:gd name="connsiteX0" fmla="*/ 0 w 2225674"/>
                <a:gd name="connsiteY0" fmla="*/ 1112837 h 2225674"/>
                <a:gd name="connsiteX1" fmla="*/ 325944 w 2225674"/>
                <a:gd name="connsiteY1" fmla="*/ 325943 h 2225674"/>
                <a:gd name="connsiteX2" fmla="*/ 1112839 w 2225674"/>
                <a:gd name="connsiteY2" fmla="*/ 2 h 2225674"/>
                <a:gd name="connsiteX3" fmla="*/ 1899733 w 2225674"/>
                <a:gd name="connsiteY3" fmla="*/ 325946 h 2225674"/>
                <a:gd name="connsiteX4" fmla="*/ 2225674 w 2225674"/>
                <a:gd name="connsiteY4" fmla="*/ 1112841 h 2225674"/>
                <a:gd name="connsiteX5" fmla="*/ 1899731 w 2225674"/>
                <a:gd name="connsiteY5" fmla="*/ 1899736 h 2225674"/>
                <a:gd name="connsiteX6" fmla="*/ 1112836 w 2225674"/>
                <a:gd name="connsiteY6" fmla="*/ 2225678 h 2225674"/>
                <a:gd name="connsiteX7" fmla="*/ 325941 w 2225674"/>
                <a:gd name="connsiteY7" fmla="*/ 1899735 h 2225674"/>
                <a:gd name="connsiteX8" fmla="*/ -1 w 2225674"/>
                <a:gd name="connsiteY8" fmla="*/ 1112840 h 2225674"/>
                <a:gd name="connsiteX9" fmla="*/ 0 w 2225674"/>
                <a:gd name="connsiteY9" fmla="*/ 1112837 h 2225674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676" h="3378202">
                  <a:moveTo>
                    <a:pt x="1" y="1112836"/>
                  </a:moveTo>
                  <a:cubicBezTo>
                    <a:pt x="1" y="817693"/>
                    <a:pt x="117247" y="534639"/>
                    <a:pt x="325945" y="325942"/>
                  </a:cubicBezTo>
                  <a:cubicBezTo>
                    <a:pt x="534643" y="117245"/>
                    <a:pt x="817698" y="0"/>
                    <a:pt x="1112840" y="1"/>
                  </a:cubicBezTo>
                  <a:cubicBezTo>
                    <a:pt x="1407983" y="1"/>
                    <a:pt x="1691037" y="117247"/>
                    <a:pt x="1899734" y="325945"/>
                  </a:cubicBezTo>
                  <a:cubicBezTo>
                    <a:pt x="2108431" y="534643"/>
                    <a:pt x="2225676" y="817698"/>
                    <a:pt x="2225675" y="1112840"/>
                  </a:cubicBezTo>
                  <a:cubicBezTo>
                    <a:pt x="2225675" y="1407983"/>
                    <a:pt x="2151880" y="1566624"/>
                    <a:pt x="1966407" y="1942597"/>
                  </a:cubicBezTo>
                  <a:cubicBezTo>
                    <a:pt x="1686646" y="2421132"/>
                    <a:pt x="1421173" y="2909192"/>
                    <a:pt x="1127125" y="3378202"/>
                  </a:cubicBezTo>
                  <a:lnTo>
                    <a:pt x="259267" y="1894972"/>
                  </a:lnTo>
                  <a:cubicBezTo>
                    <a:pt x="59507" y="1528524"/>
                    <a:pt x="0" y="1407982"/>
                    <a:pt x="0" y="1112839"/>
                  </a:cubicBezTo>
                  <a:cubicBezTo>
                    <a:pt x="0" y="1112838"/>
                    <a:pt x="1" y="1112837"/>
                    <a:pt x="1" y="1112836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2F2F2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600">
                <a:solidFill>
                  <a:srgbClr val="575757"/>
                </a:solidFill>
                <a:cs typeface="Arial" pitchFamily="34" charset="0"/>
              </a:endParaRPr>
            </a:p>
          </p:txBody>
        </p:sp>
        <p:sp>
          <p:nvSpPr>
            <p:cNvPr id="33" name="Freeform 96">
              <a:extLst>
                <a:ext uri="{FF2B5EF4-FFF2-40B4-BE49-F238E27FC236}">
                  <a16:creationId xmlns:a16="http://schemas.microsoft.com/office/drawing/2014/main" id="{7C863CDB-6866-4297-8DD9-0456E97BD78E}"/>
                </a:ext>
              </a:extLst>
            </p:cNvPr>
            <p:cNvSpPr/>
            <p:nvPr/>
          </p:nvSpPr>
          <p:spPr>
            <a:xfrm rot="13500000" flipV="1">
              <a:off x="6160863" y="2312374"/>
              <a:ext cx="1385111" cy="2093198"/>
            </a:xfrm>
            <a:custGeom>
              <a:avLst/>
              <a:gdLst>
                <a:gd name="connsiteX0" fmla="*/ 0 w 2225674"/>
                <a:gd name="connsiteY0" fmla="*/ 1112837 h 2225674"/>
                <a:gd name="connsiteX1" fmla="*/ 325944 w 2225674"/>
                <a:gd name="connsiteY1" fmla="*/ 325943 h 2225674"/>
                <a:gd name="connsiteX2" fmla="*/ 1112839 w 2225674"/>
                <a:gd name="connsiteY2" fmla="*/ 2 h 2225674"/>
                <a:gd name="connsiteX3" fmla="*/ 1899733 w 2225674"/>
                <a:gd name="connsiteY3" fmla="*/ 325946 h 2225674"/>
                <a:gd name="connsiteX4" fmla="*/ 2225674 w 2225674"/>
                <a:gd name="connsiteY4" fmla="*/ 1112841 h 2225674"/>
                <a:gd name="connsiteX5" fmla="*/ 1899731 w 2225674"/>
                <a:gd name="connsiteY5" fmla="*/ 1899736 h 2225674"/>
                <a:gd name="connsiteX6" fmla="*/ 1112836 w 2225674"/>
                <a:gd name="connsiteY6" fmla="*/ 2225678 h 2225674"/>
                <a:gd name="connsiteX7" fmla="*/ 325941 w 2225674"/>
                <a:gd name="connsiteY7" fmla="*/ 1899735 h 2225674"/>
                <a:gd name="connsiteX8" fmla="*/ -1 w 2225674"/>
                <a:gd name="connsiteY8" fmla="*/ 1112840 h 2225674"/>
                <a:gd name="connsiteX9" fmla="*/ 0 w 2225674"/>
                <a:gd name="connsiteY9" fmla="*/ 1112837 h 2225674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899732 w 2225676"/>
                <a:gd name="connsiteY5" fmla="*/ 1899735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3259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68677"/>
                <a:gd name="connsiteX1" fmla="*/ 325945 w 2225676"/>
                <a:gd name="connsiteY1" fmla="*/ 325942 h 3368677"/>
                <a:gd name="connsiteX2" fmla="*/ 1112840 w 2225676"/>
                <a:gd name="connsiteY2" fmla="*/ 1 h 3368677"/>
                <a:gd name="connsiteX3" fmla="*/ 1899734 w 2225676"/>
                <a:gd name="connsiteY3" fmla="*/ 325945 h 3368677"/>
                <a:gd name="connsiteX4" fmla="*/ 2225675 w 2225676"/>
                <a:gd name="connsiteY4" fmla="*/ 1112840 h 3368677"/>
                <a:gd name="connsiteX5" fmla="*/ 1966407 w 2225676"/>
                <a:gd name="connsiteY5" fmla="*/ 1942597 h 3368677"/>
                <a:gd name="connsiteX6" fmla="*/ 1112837 w 2225676"/>
                <a:gd name="connsiteY6" fmla="*/ 3368677 h 3368677"/>
                <a:gd name="connsiteX7" fmla="*/ 249742 w 2225676"/>
                <a:gd name="connsiteY7" fmla="*/ 1899734 h 3368677"/>
                <a:gd name="connsiteX8" fmla="*/ 0 w 2225676"/>
                <a:gd name="connsiteY8" fmla="*/ 1112839 h 3368677"/>
                <a:gd name="connsiteX9" fmla="*/ 1 w 2225676"/>
                <a:gd name="connsiteY9" fmla="*/ 1112836 h 3368677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49742 w 2225676"/>
                <a:gd name="connsiteY7" fmla="*/ 1899734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  <a:gd name="connsiteX0" fmla="*/ 1 w 2225676"/>
                <a:gd name="connsiteY0" fmla="*/ 1112836 h 3378202"/>
                <a:gd name="connsiteX1" fmla="*/ 325945 w 2225676"/>
                <a:gd name="connsiteY1" fmla="*/ 325942 h 3378202"/>
                <a:gd name="connsiteX2" fmla="*/ 1112840 w 2225676"/>
                <a:gd name="connsiteY2" fmla="*/ 1 h 3378202"/>
                <a:gd name="connsiteX3" fmla="*/ 1899734 w 2225676"/>
                <a:gd name="connsiteY3" fmla="*/ 325945 h 3378202"/>
                <a:gd name="connsiteX4" fmla="*/ 2225675 w 2225676"/>
                <a:gd name="connsiteY4" fmla="*/ 1112840 h 3378202"/>
                <a:gd name="connsiteX5" fmla="*/ 1966407 w 2225676"/>
                <a:gd name="connsiteY5" fmla="*/ 1942597 h 3378202"/>
                <a:gd name="connsiteX6" fmla="*/ 1127125 w 2225676"/>
                <a:gd name="connsiteY6" fmla="*/ 3378202 h 3378202"/>
                <a:gd name="connsiteX7" fmla="*/ 259267 w 2225676"/>
                <a:gd name="connsiteY7" fmla="*/ 1894972 h 3378202"/>
                <a:gd name="connsiteX8" fmla="*/ 0 w 2225676"/>
                <a:gd name="connsiteY8" fmla="*/ 1112839 h 3378202"/>
                <a:gd name="connsiteX9" fmla="*/ 1 w 2225676"/>
                <a:gd name="connsiteY9" fmla="*/ 1112836 h 3378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676" h="3378202">
                  <a:moveTo>
                    <a:pt x="1" y="1112836"/>
                  </a:moveTo>
                  <a:cubicBezTo>
                    <a:pt x="1" y="817693"/>
                    <a:pt x="117247" y="534639"/>
                    <a:pt x="325945" y="325942"/>
                  </a:cubicBezTo>
                  <a:cubicBezTo>
                    <a:pt x="534643" y="117245"/>
                    <a:pt x="817698" y="0"/>
                    <a:pt x="1112840" y="1"/>
                  </a:cubicBezTo>
                  <a:cubicBezTo>
                    <a:pt x="1407983" y="1"/>
                    <a:pt x="1691037" y="117247"/>
                    <a:pt x="1899734" y="325945"/>
                  </a:cubicBezTo>
                  <a:cubicBezTo>
                    <a:pt x="2108431" y="534643"/>
                    <a:pt x="2225676" y="817698"/>
                    <a:pt x="2225675" y="1112840"/>
                  </a:cubicBezTo>
                  <a:cubicBezTo>
                    <a:pt x="2225675" y="1407983"/>
                    <a:pt x="2151880" y="1566624"/>
                    <a:pt x="1966407" y="1942597"/>
                  </a:cubicBezTo>
                  <a:cubicBezTo>
                    <a:pt x="1686646" y="2421132"/>
                    <a:pt x="1421173" y="2909192"/>
                    <a:pt x="1127125" y="3378202"/>
                  </a:cubicBezTo>
                  <a:lnTo>
                    <a:pt x="259267" y="1894972"/>
                  </a:lnTo>
                  <a:cubicBezTo>
                    <a:pt x="59507" y="1528524"/>
                    <a:pt x="0" y="1407982"/>
                    <a:pt x="0" y="1112839"/>
                  </a:cubicBezTo>
                  <a:cubicBezTo>
                    <a:pt x="0" y="1112838"/>
                    <a:pt x="1" y="1112837"/>
                    <a:pt x="1" y="1112836"/>
                  </a:cubicBez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rgbClr val="F2F2F2"/>
              </a:soli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600">
                <a:solidFill>
                  <a:srgbClr val="575757"/>
                </a:solidFill>
                <a:cs typeface="Arial" pitchFamily="34" charset="0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D19919F-4775-49F7-AA06-2B66A8485CBB}"/>
              </a:ext>
            </a:extLst>
          </p:cNvPr>
          <p:cNvGrpSpPr/>
          <p:nvPr/>
        </p:nvGrpSpPr>
        <p:grpSpPr>
          <a:xfrm>
            <a:off x="6108848" y="3826919"/>
            <a:ext cx="2255875" cy="246221"/>
            <a:chOff x="5976609" y="1441373"/>
            <a:chExt cx="2255875" cy="24622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FB26B52-5E6E-4190-AAFC-175F9B659D9D}"/>
                </a:ext>
              </a:extLst>
            </p:cNvPr>
            <p:cNvSpPr/>
            <p:nvPr/>
          </p:nvSpPr>
          <p:spPr>
            <a:xfrm>
              <a:off x="7104931" y="1441373"/>
              <a:ext cx="1127553" cy="246221"/>
            </a:xfrm>
            <a:prstGeom prst="rect">
              <a:avLst/>
            </a:prstGeom>
          </p:spPr>
          <p:txBody>
            <a:bodyPr wrap="none" lIns="137160" tIns="0" rIns="0" bIns="0" anchor="ctr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err="1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Sharepoint</a:t>
              </a:r>
              <a:endParaRPr lang="en-US" sz="16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DA1BDF3-208C-46E8-994D-3AC8383622F3}"/>
                </a:ext>
              </a:extLst>
            </p:cNvPr>
            <p:cNvCxnSpPr>
              <a:cxnSpLocks/>
              <a:stCxn id="34" idx="1"/>
            </p:cNvCxnSpPr>
            <p:nvPr/>
          </p:nvCxnSpPr>
          <p:spPr>
            <a:xfrm flipH="1">
              <a:off x="5976609" y="1564484"/>
              <a:ext cx="1128322" cy="0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none" w="sm" len="sm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6CE5A97-5A90-4A7A-9930-BC216AF5C719}"/>
              </a:ext>
            </a:extLst>
          </p:cNvPr>
          <p:cNvGrpSpPr/>
          <p:nvPr/>
        </p:nvGrpSpPr>
        <p:grpSpPr>
          <a:xfrm>
            <a:off x="6057617" y="1259885"/>
            <a:ext cx="2138210" cy="246221"/>
            <a:chOff x="5621389" y="3584044"/>
            <a:chExt cx="2138210" cy="246221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E1DDAA4-EA61-4C07-8B3E-118EC1E650F3}"/>
                </a:ext>
              </a:extLst>
            </p:cNvPr>
            <p:cNvSpPr/>
            <p:nvPr/>
          </p:nvSpPr>
          <p:spPr>
            <a:xfrm>
              <a:off x="7276453" y="3584044"/>
              <a:ext cx="483146" cy="246221"/>
            </a:xfrm>
            <a:prstGeom prst="rect">
              <a:avLst/>
            </a:prstGeom>
          </p:spPr>
          <p:txBody>
            <a:bodyPr wrap="none" lIns="137160" tIns="0" rIns="0" bIns="0" anchor="ctr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Jira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39E6444-1EDC-4A97-A85D-949DA74A5E8D}"/>
                </a:ext>
              </a:extLst>
            </p:cNvPr>
            <p:cNvCxnSpPr>
              <a:cxnSpLocks/>
              <a:stCxn id="36" idx="1"/>
            </p:cNvCxnSpPr>
            <p:nvPr/>
          </p:nvCxnSpPr>
          <p:spPr>
            <a:xfrm flipH="1">
              <a:off x="5621389" y="3707155"/>
              <a:ext cx="1655064" cy="0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none" w="sm" len="sm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5991E95-0816-451A-9BB4-B8EDDCDE0106}"/>
              </a:ext>
            </a:extLst>
          </p:cNvPr>
          <p:cNvGrpSpPr/>
          <p:nvPr/>
        </p:nvGrpSpPr>
        <p:grpSpPr>
          <a:xfrm>
            <a:off x="1244862" y="1259885"/>
            <a:ext cx="2099686" cy="246221"/>
            <a:chOff x="1328752" y="1205397"/>
            <a:chExt cx="2099686" cy="246221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E0B5052-2F69-4B38-872E-A1269A9CAEE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67605" y="1324519"/>
              <a:ext cx="1560833" cy="3988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oval" w="med" len="med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B3C9883-4850-4CE5-8467-C45AD48363C4}"/>
                </a:ext>
              </a:extLst>
            </p:cNvPr>
            <p:cNvSpPr/>
            <p:nvPr/>
          </p:nvSpPr>
          <p:spPr>
            <a:xfrm>
              <a:off x="1328752" y="1205397"/>
              <a:ext cx="611386" cy="246221"/>
            </a:xfrm>
            <a:prstGeom prst="rect">
              <a:avLst/>
            </a:prstGeom>
          </p:spPr>
          <p:txBody>
            <a:bodyPr wrap="none" lIns="0" tIns="0" rIns="137160" bIns="0" anchor="ctr">
              <a:spAutoFit/>
            </a:bodyPr>
            <a:lstStyle/>
            <a:p>
              <a:pPr algn="r"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Slack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2671CA6-B663-4D59-95DB-0FBFDA21EC6D}"/>
              </a:ext>
            </a:extLst>
          </p:cNvPr>
          <p:cNvGrpSpPr/>
          <p:nvPr/>
        </p:nvGrpSpPr>
        <p:grpSpPr>
          <a:xfrm>
            <a:off x="1105786" y="3826919"/>
            <a:ext cx="2116235" cy="246221"/>
            <a:chOff x="1253295" y="3192057"/>
            <a:chExt cx="2116235" cy="246221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9DA0B23-7872-4ADF-ADBD-08A7E04E8C8E}"/>
                </a:ext>
              </a:extLst>
            </p:cNvPr>
            <p:cNvSpPr/>
            <p:nvPr/>
          </p:nvSpPr>
          <p:spPr>
            <a:xfrm>
              <a:off x="1253295" y="3192057"/>
              <a:ext cx="701154" cy="246221"/>
            </a:xfrm>
            <a:prstGeom prst="rect">
              <a:avLst/>
            </a:prstGeom>
          </p:spPr>
          <p:txBody>
            <a:bodyPr wrap="none" lIns="0" tIns="0" rIns="137160" bIns="0" anchor="ctr">
              <a:spAutoFit/>
            </a:bodyPr>
            <a:lstStyle/>
            <a:p>
              <a:pPr algn="r"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Gitlab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DB9096EC-2B40-4FBB-A66A-66299D54E2FA}"/>
                </a:ext>
              </a:extLst>
            </p:cNvPr>
            <p:cNvCxnSpPr>
              <a:cxnSpLocks/>
              <a:endCxn id="40" idx="3"/>
            </p:cNvCxnSpPr>
            <p:nvPr/>
          </p:nvCxnSpPr>
          <p:spPr>
            <a:xfrm flipH="1">
              <a:off x="1954449" y="3315168"/>
              <a:ext cx="1415081" cy="0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oval" w="med" len="med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434" name="Picture 2" descr="icinga2-slack-notification :: Icinga Exchange">
            <a:extLst>
              <a:ext uri="{FF2B5EF4-FFF2-40B4-BE49-F238E27FC236}">
                <a16:creationId xmlns:a16="http://schemas.microsoft.com/office/drawing/2014/main" id="{BBC3175D-3850-4E26-A926-139C5C9E3D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895" y="1304408"/>
            <a:ext cx="868075" cy="86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8" name="Picture 6" descr="Gitlab Logo and symbol, meaning, history, PNG, brand">
            <a:extLst>
              <a:ext uri="{FF2B5EF4-FFF2-40B4-BE49-F238E27FC236}">
                <a16:creationId xmlns:a16="http://schemas.microsoft.com/office/drawing/2014/main" id="{779A31F9-F4EF-4EA6-87EA-140F82C706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26" r="31010" b="39817"/>
          <a:stretch/>
        </p:blipFill>
        <p:spPr bwMode="auto">
          <a:xfrm>
            <a:off x="3271724" y="3255512"/>
            <a:ext cx="950418" cy="86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0" name="Picture 8" descr="Download Microsoft SharePoint Logo in SVG Vector or PNG File Format - Logo .wine">
            <a:extLst>
              <a:ext uri="{FF2B5EF4-FFF2-40B4-BE49-F238E27FC236}">
                <a16:creationId xmlns:a16="http://schemas.microsoft.com/office/drawing/2014/main" id="{E2C8B6FC-EACC-4C09-BA6B-E3C689AD7D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69" t="12887" r="23129" b="12415"/>
          <a:stretch/>
        </p:blipFill>
        <p:spPr bwMode="auto">
          <a:xfrm>
            <a:off x="5128251" y="3187174"/>
            <a:ext cx="930894" cy="86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2" name="Picture 10" descr="Atlassian, jira, logo Icon in Vector Logo">
            <a:extLst>
              <a:ext uri="{FF2B5EF4-FFF2-40B4-BE49-F238E27FC236}">
                <a16:creationId xmlns:a16="http://schemas.microsoft.com/office/drawing/2014/main" id="{C5F65FF9-2604-4429-B160-88D2A8C51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661" y="1304408"/>
            <a:ext cx="868075" cy="86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03A7F280-D8CB-4FA9-A0E0-EDE8F3DBD44D}"/>
              </a:ext>
            </a:extLst>
          </p:cNvPr>
          <p:cNvSpPr/>
          <p:nvPr/>
        </p:nvSpPr>
        <p:spPr>
          <a:xfrm>
            <a:off x="1966505" y="1186702"/>
            <a:ext cx="1260602" cy="184666"/>
          </a:xfrm>
          <a:prstGeom prst="rect">
            <a:avLst/>
          </a:prstGeom>
        </p:spPr>
        <p:txBody>
          <a:bodyPr wrap="none" lIns="0" tIns="0" rIns="137160" bIns="0" anchor="ctr">
            <a:spAutoFit/>
          </a:bodyPr>
          <a:lstStyle/>
          <a:p>
            <a:pPr algn="r">
              <a:buSzPct val="100000"/>
              <a:buFont typeface="Trebuchet MS" panose="020B0603020202020204" pitchFamily="34" charset="0"/>
              <a:buChar char="​"/>
            </a:pPr>
            <a:r>
              <a:rPr lang="en-US" sz="1200" b="1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Communication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CB71CBC-0BD1-4446-BB5D-E3920D8C11D3}"/>
              </a:ext>
            </a:extLst>
          </p:cNvPr>
          <p:cNvSpPr/>
          <p:nvPr/>
        </p:nvSpPr>
        <p:spPr>
          <a:xfrm>
            <a:off x="6257669" y="1186702"/>
            <a:ext cx="1619674" cy="184666"/>
          </a:xfrm>
          <a:prstGeom prst="rect">
            <a:avLst/>
          </a:prstGeom>
        </p:spPr>
        <p:txBody>
          <a:bodyPr wrap="none" lIns="0" tIns="0" rIns="137160" bIns="0" anchor="ctr">
            <a:spAutoFit/>
          </a:bodyPr>
          <a:lstStyle/>
          <a:p>
            <a:pPr algn="r">
              <a:buSzPct val="100000"/>
              <a:buFont typeface="Trebuchet MS" panose="020B0603020202020204" pitchFamily="34" charset="0"/>
              <a:buChar char="​"/>
            </a:pPr>
            <a:r>
              <a:rPr lang="en-US" sz="1200" b="1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Project Management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80298E7-ABD6-466E-8494-3476A0344454}"/>
              </a:ext>
            </a:extLst>
          </p:cNvPr>
          <p:cNvSpPr/>
          <p:nvPr/>
        </p:nvSpPr>
        <p:spPr>
          <a:xfrm>
            <a:off x="6359607" y="3729568"/>
            <a:ext cx="986489" cy="184666"/>
          </a:xfrm>
          <a:prstGeom prst="rect">
            <a:avLst/>
          </a:prstGeom>
        </p:spPr>
        <p:txBody>
          <a:bodyPr wrap="none" lIns="0" tIns="0" rIns="137160" bIns="0" anchor="ctr">
            <a:spAutoFit/>
          </a:bodyPr>
          <a:lstStyle/>
          <a:p>
            <a:pPr algn="r">
              <a:buSzPct val="100000"/>
              <a:buFont typeface="Trebuchet MS" panose="020B0603020202020204" pitchFamily="34" charset="0"/>
              <a:buChar char="​"/>
            </a:pPr>
            <a:r>
              <a:rPr lang="en-US" sz="1200" b="1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File Sharing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ABD6029-8503-4924-99E1-C80C264A37E8}"/>
              </a:ext>
            </a:extLst>
          </p:cNvPr>
          <p:cNvSpPr/>
          <p:nvPr/>
        </p:nvSpPr>
        <p:spPr>
          <a:xfrm>
            <a:off x="1853451" y="3729568"/>
            <a:ext cx="1247329" cy="184666"/>
          </a:xfrm>
          <a:prstGeom prst="rect">
            <a:avLst/>
          </a:prstGeom>
        </p:spPr>
        <p:txBody>
          <a:bodyPr wrap="none" lIns="0" tIns="0" rIns="137160" bIns="0" anchor="ctr">
            <a:spAutoFit/>
          </a:bodyPr>
          <a:lstStyle/>
          <a:p>
            <a:pPr algn="r">
              <a:buSzPct val="100000"/>
              <a:buFont typeface="Trebuchet MS" panose="020B0603020202020204" pitchFamily="34" charset="0"/>
              <a:buChar char="​"/>
            </a:pPr>
            <a:r>
              <a:rPr lang="en-US" sz="1200" b="1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Version Control</a:t>
            </a:r>
          </a:p>
        </p:txBody>
      </p:sp>
      <p:sp>
        <p:nvSpPr>
          <p:cNvPr id="52" name="NavigationTriangle">
            <a:extLst>
              <a:ext uri="{FF2B5EF4-FFF2-40B4-BE49-F238E27FC236}">
                <a16:creationId xmlns:a16="http://schemas.microsoft.com/office/drawing/2014/main" id="{0804E7E6-372C-4FB0-9B9D-E346D47DA65B}"/>
              </a:ext>
            </a:extLst>
          </p:cNvPr>
          <p:cNvSpPr/>
          <p:nvPr/>
        </p:nvSpPr>
        <p:spPr>
          <a:xfrm rot="16200000">
            <a:off x="8066766" y="-2144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BA011F3-C399-43E1-8F5C-17C887DEDC05}"/>
              </a:ext>
            </a:extLst>
          </p:cNvPr>
          <p:cNvGrpSpPr>
            <a:grpSpLocks noChangeAspect="1"/>
          </p:cNvGrpSpPr>
          <p:nvPr/>
        </p:nvGrpSpPr>
        <p:grpSpPr>
          <a:xfrm>
            <a:off x="8611619" y="76851"/>
            <a:ext cx="457200" cy="457200"/>
            <a:chOff x="7324950" y="3200401"/>
            <a:chExt cx="457200" cy="457200"/>
          </a:xfrm>
        </p:grpSpPr>
        <p:sp>
          <p:nvSpPr>
            <p:cNvPr id="70" name="AutoShape 17">
              <a:extLst>
                <a:ext uri="{FF2B5EF4-FFF2-40B4-BE49-F238E27FC236}">
                  <a16:creationId xmlns:a16="http://schemas.microsoft.com/office/drawing/2014/main" id="{BF1E1E5D-9465-4BEE-B576-8EE589AE705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F5014368-112F-4B04-98C9-7ABF29A02F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7" y="3230227"/>
              <a:ext cx="402167" cy="398126"/>
            </a:xfrm>
            <a:custGeom>
              <a:avLst/>
              <a:gdLst>
                <a:gd name="T0" fmla="*/ 879 w 879"/>
                <a:gd name="T1" fmla="*/ 273 h 870"/>
                <a:gd name="T2" fmla="*/ 606 w 879"/>
                <a:gd name="T3" fmla="*/ 0 h 870"/>
                <a:gd name="T4" fmla="*/ 333 w 879"/>
                <a:gd name="T5" fmla="*/ 273 h 870"/>
                <a:gd name="T6" fmla="*/ 334 w 879"/>
                <a:gd name="T7" fmla="*/ 296 h 870"/>
                <a:gd name="T8" fmla="*/ 312 w 879"/>
                <a:gd name="T9" fmla="*/ 296 h 870"/>
                <a:gd name="T10" fmla="*/ 292 w 879"/>
                <a:gd name="T11" fmla="*/ 296 h 870"/>
                <a:gd name="T12" fmla="*/ 253 w 879"/>
                <a:gd name="T13" fmla="*/ 261 h 870"/>
                <a:gd name="T14" fmla="*/ 190 w 879"/>
                <a:gd name="T15" fmla="*/ 280 h 870"/>
                <a:gd name="T16" fmla="*/ 131 w 879"/>
                <a:gd name="T17" fmla="*/ 313 h 870"/>
                <a:gd name="T18" fmla="*/ 131 w 879"/>
                <a:gd name="T19" fmla="*/ 366 h 870"/>
                <a:gd name="T20" fmla="*/ 70 w 879"/>
                <a:gd name="T21" fmla="*/ 447 h 870"/>
                <a:gd name="T22" fmla="*/ 22 w 879"/>
                <a:gd name="T23" fmla="*/ 462 h 870"/>
                <a:gd name="T24" fmla="*/ 3 w 879"/>
                <a:gd name="T25" fmla="*/ 593 h 870"/>
                <a:gd name="T26" fmla="*/ 48 w 879"/>
                <a:gd name="T27" fmla="*/ 619 h 870"/>
                <a:gd name="T28" fmla="*/ 66 w 879"/>
                <a:gd name="T29" fmla="*/ 672 h 870"/>
                <a:gd name="T30" fmla="*/ 90 w 879"/>
                <a:gd name="T31" fmla="*/ 718 h 870"/>
                <a:gd name="T32" fmla="*/ 78 w 879"/>
                <a:gd name="T33" fmla="*/ 768 h 870"/>
                <a:gd name="T34" fmla="*/ 181 w 879"/>
                <a:gd name="T35" fmla="*/ 847 h 870"/>
                <a:gd name="T36" fmla="*/ 225 w 879"/>
                <a:gd name="T37" fmla="*/ 820 h 870"/>
                <a:gd name="T38" fmla="*/ 315 w 879"/>
                <a:gd name="T39" fmla="*/ 836 h 870"/>
                <a:gd name="T40" fmla="*/ 336 w 879"/>
                <a:gd name="T41" fmla="*/ 834 h 870"/>
                <a:gd name="T42" fmla="*/ 375 w 879"/>
                <a:gd name="T43" fmla="*/ 870 h 870"/>
                <a:gd name="T44" fmla="*/ 435 w 879"/>
                <a:gd name="T45" fmla="*/ 851 h 870"/>
                <a:gd name="T46" fmla="*/ 491 w 879"/>
                <a:gd name="T47" fmla="*/ 819 h 870"/>
                <a:gd name="T48" fmla="*/ 491 w 879"/>
                <a:gd name="T49" fmla="*/ 768 h 870"/>
                <a:gd name="T50" fmla="*/ 558 w 879"/>
                <a:gd name="T51" fmla="*/ 677 h 870"/>
                <a:gd name="T52" fmla="*/ 606 w 879"/>
                <a:gd name="T53" fmla="*/ 662 h 870"/>
                <a:gd name="T54" fmla="*/ 622 w 879"/>
                <a:gd name="T55" fmla="*/ 548 h 870"/>
                <a:gd name="T56" fmla="*/ 622 w 879"/>
                <a:gd name="T57" fmla="*/ 546 h 870"/>
                <a:gd name="T58" fmla="*/ 879 w 879"/>
                <a:gd name="T59" fmla="*/ 273 h 870"/>
                <a:gd name="T60" fmla="*/ 367 w 879"/>
                <a:gd name="T61" fmla="*/ 690 h 870"/>
                <a:gd name="T62" fmla="*/ 313 w 879"/>
                <a:gd name="T63" fmla="*/ 702 h 870"/>
                <a:gd name="T64" fmla="*/ 189 w 879"/>
                <a:gd name="T65" fmla="*/ 619 h 870"/>
                <a:gd name="T66" fmla="*/ 259 w 879"/>
                <a:gd name="T67" fmla="*/ 442 h 870"/>
                <a:gd name="T68" fmla="*/ 311 w 879"/>
                <a:gd name="T69" fmla="*/ 430 h 870"/>
                <a:gd name="T70" fmla="*/ 436 w 879"/>
                <a:gd name="T71" fmla="*/ 512 h 870"/>
                <a:gd name="T72" fmla="*/ 367 w 879"/>
                <a:gd name="T73" fmla="*/ 690 h 870"/>
                <a:gd name="T74" fmla="*/ 770 w 879"/>
                <a:gd name="T75" fmla="*/ 157 h 870"/>
                <a:gd name="T76" fmla="*/ 636 w 879"/>
                <a:gd name="T77" fmla="*/ 273 h 870"/>
                <a:gd name="T78" fmla="*/ 636 w 879"/>
                <a:gd name="T79" fmla="*/ 274 h 870"/>
                <a:gd name="T80" fmla="*/ 606 w 879"/>
                <a:gd name="T81" fmla="*/ 303 h 870"/>
                <a:gd name="T82" fmla="*/ 576 w 879"/>
                <a:gd name="T83" fmla="*/ 275 h 870"/>
                <a:gd name="T84" fmla="*/ 484 w 879"/>
                <a:gd name="T85" fmla="*/ 210 h 870"/>
                <a:gd name="T86" fmla="*/ 481 w 879"/>
                <a:gd name="T87" fmla="*/ 195 h 870"/>
                <a:gd name="T88" fmla="*/ 496 w 879"/>
                <a:gd name="T89" fmla="*/ 191 h 870"/>
                <a:gd name="T90" fmla="*/ 595 w 879"/>
                <a:gd name="T91" fmla="*/ 246 h 870"/>
                <a:gd name="T92" fmla="*/ 606 w 879"/>
                <a:gd name="T93" fmla="*/ 244 h 870"/>
                <a:gd name="T94" fmla="*/ 613 w 879"/>
                <a:gd name="T95" fmla="*/ 245 h 870"/>
                <a:gd name="T96" fmla="*/ 756 w 879"/>
                <a:gd name="T97" fmla="*/ 138 h 870"/>
                <a:gd name="T98" fmla="*/ 764 w 879"/>
                <a:gd name="T99" fmla="*/ 136 h 870"/>
                <a:gd name="T100" fmla="*/ 772 w 879"/>
                <a:gd name="T101" fmla="*/ 140 h 870"/>
                <a:gd name="T102" fmla="*/ 770 w 879"/>
                <a:gd name="T103" fmla="*/ 157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79" h="870">
                  <a:moveTo>
                    <a:pt x="879" y="273"/>
                  </a:moveTo>
                  <a:cubicBezTo>
                    <a:pt x="879" y="122"/>
                    <a:pt x="757" y="0"/>
                    <a:pt x="606" y="0"/>
                  </a:cubicBezTo>
                  <a:cubicBezTo>
                    <a:pt x="455" y="0"/>
                    <a:pt x="333" y="122"/>
                    <a:pt x="333" y="273"/>
                  </a:cubicBezTo>
                  <a:cubicBezTo>
                    <a:pt x="333" y="281"/>
                    <a:pt x="333" y="289"/>
                    <a:pt x="334" y="296"/>
                  </a:cubicBezTo>
                  <a:cubicBezTo>
                    <a:pt x="326" y="296"/>
                    <a:pt x="319" y="296"/>
                    <a:pt x="312" y="296"/>
                  </a:cubicBezTo>
                  <a:cubicBezTo>
                    <a:pt x="305" y="296"/>
                    <a:pt x="299" y="296"/>
                    <a:pt x="292" y="296"/>
                  </a:cubicBezTo>
                  <a:cubicBezTo>
                    <a:pt x="253" y="261"/>
                    <a:pt x="253" y="261"/>
                    <a:pt x="253" y="261"/>
                  </a:cubicBezTo>
                  <a:cubicBezTo>
                    <a:pt x="233" y="266"/>
                    <a:pt x="211" y="271"/>
                    <a:pt x="190" y="280"/>
                  </a:cubicBezTo>
                  <a:cubicBezTo>
                    <a:pt x="169" y="290"/>
                    <a:pt x="149" y="301"/>
                    <a:pt x="131" y="313"/>
                  </a:cubicBezTo>
                  <a:cubicBezTo>
                    <a:pt x="131" y="366"/>
                    <a:pt x="131" y="366"/>
                    <a:pt x="131" y="366"/>
                  </a:cubicBezTo>
                  <a:cubicBezTo>
                    <a:pt x="106" y="389"/>
                    <a:pt x="85" y="416"/>
                    <a:pt x="70" y="447"/>
                  </a:cubicBezTo>
                  <a:cubicBezTo>
                    <a:pt x="22" y="462"/>
                    <a:pt x="22" y="462"/>
                    <a:pt x="22" y="462"/>
                  </a:cubicBezTo>
                  <a:cubicBezTo>
                    <a:pt x="6" y="503"/>
                    <a:pt x="0" y="547"/>
                    <a:pt x="3" y="593"/>
                  </a:cubicBezTo>
                  <a:cubicBezTo>
                    <a:pt x="48" y="619"/>
                    <a:pt x="48" y="619"/>
                    <a:pt x="48" y="619"/>
                  </a:cubicBezTo>
                  <a:cubicBezTo>
                    <a:pt x="52" y="636"/>
                    <a:pt x="57" y="655"/>
                    <a:pt x="66" y="672"/>
                  </a:cubicBezTo>
                  <a:cubicBezTo>
                    <a:pt x="73" y="688"/>
                    <a:pt x="80" y="704"/>
                    <a:pt x="90" y="718"/>
                  </a:cubicBezTo>
                  <a:cubicBezTo>
                    <a:pt x="78" y="768"/>
                    <a:pt x="78" y="768"/>
                    <a:pt x="78" y="768"/>
                  </a:cubicBezTo>
                  <a:cubicBezTo>
                    <a:pt x="107" y="802"/>
                    <a:pt x="142" y="828"/>
                    <a:pt x="181" y="847"/>
                  </a:cubicBezTo>
                  <a:cubicBezTo>
                    <a:pt x="225" y="820"/>
                    <a:pt x="225" y="820"/>
                    <a:pt x="225" y="820"/>
                  </a:cubicBezTo>
                  <a:cubicBezTo>
                    <a:pt x="253" y="830"/>
                    <a:pt x="283" y="836"/>
                    <a:pt x="315" y="836"/>
                  </a:cubicBezTo>
                  <a:cubicBezTo>
                    <a:pt x="322" y="836"/>
                    <a:pt x="329" y="835"/>
                    <a:pt x="336" y="834"/>
                  </a:cubicBezTo>
                  <a:cubicBezTo>
                    <a:pt x="375" y="870"/>
                    <a:pt x="375" y="870"/>
                    <a:pt x="375" y="870"/>
                  </a:cubicBezTo>
                  <a:cubicBezTo>
                    <a:pt x="394" y="866"/>
                    <a:pt x="415" y="859"/>
                    <a:pt x="435" y="851"/>
                  </a:cubicBezTo>
                  <a:cubicBezTo>
                    <a:pt x="455" y="841"/>
                    <a:pt x="473" y="831"/>
                    <a:pt x="491" y="819"/>
                  </a:cubicBezTo>
                  <a:cubicBezTo>
                    <a:pt x="491" y="768"/>
                    <a:pt x="491" y="768"/>
                    <a:pt x="491" y="768"/>
                  </a:cubicBezTo>
                  <a:cubicBezTo>
                    <a:pt x="520" y="742"/>
                    <a:pt x="542" y="711"/>
                    <a:pt x="558" y="677"/>
                  </a:cubicBezTo>
                  <a:cubicBezTo>
                    <a:pt x="606" y="662"/>
                    <a:pt x="606" y="662"/>
                    <a:pt x="606" y="662"/>
                  </a:cubicBezTo>
                  <a:cubicBezTo>
                    <a:pt x="619" y="626"/>
                    <a:pt x="624" y="587"/>
                    <a:pt x="622" y="548"/>
                  </a:cubicBezTo>
                  <a:cubicBezTo>
                    <a:pt x="622" y="547"/>
                    <a:pt x="622" y="546"/>
                    <a:pt x="622" y="546"/>
                  </a:cubicBezTo>
                  <a:cubicBezTo>
                    <a:pt x="765" y="537"/>
                    <a:pt x="879" y="419"/>
                    <a:pt x="879" y="273"/>
                  </a:cubicBezTo>
                  <a:close/>
                  <a:moveTo>
                    <a:pt x="367" y="690"/>
                  </a:moveTo>
                  <a:cubicBezTo>
                    <a:pt x="349" y="698"/>
                    <a:pt x="331" y="702"/>
                    <a:pt x="313" y="702"/>
                  </a:cubicBezTo>
                  <a:cubicBezTo>
                    <a:pt x="261" y="702"/>
                    <a:pt x="211" y="670"/>
                    <a:pt x="189" y="619"/>
                  </a:cubicBezTo>
                  <a:cubicBezTo>
                    <a:pt x="159" y="550"/>
                    <a:pt x="191" y="471"/>
                    <a:pt x="259" y="442"/>
                  </a:cubicBezTo>
                  <a:cubicBezTo>
                    <a:pt x="276" y="434"/>
                    <a:pt x="294" y="431"/>
                    <a:pt x="311" y="430"/>
                  </a:cubicBezTo>
                  <a:cubicBezTo>
                    <a:pt x="364" y="430"/>
                    <a:pt x="415" y="461"/>
                    <a:pt x="436" y="512"/>
                  </a:cubicBezTo>
                  <a:cubicBezTo>
                    <a:pt x="466" y="580"/>
                    <a:pt x="435" y="661"/>
                    <a:pt x="367" y="690"/>
                  </a:cubicBezTo>
                  <a:close/>
                  <a:moveTo>
                    <a:pt x="770" y="157"/>
                  </a:moveTo>
                  <a:cubicBezTo>
                    <a:pt x="770" y="157"/>
                    <a:pt x="770" y="157"/>
                    <a:pt x="636" y="273"/>
                  </a:cubicBezTo>
                  <a:cubicBezTo>
                    <a:pt x="636" y="273"/>
                    <a:pt x="636" y="273"/>
                    <a:pt x="636" y="274"/>
                  </a:cubicBezTo>
                  <a:cubicBezTo>
                    <a:pt x="636" y="290"/>
                    <a:pt x="622" y="303"/>
                    <a:pt x="606" y="303"/>
                  </a:cubicBezTo>
                  <a:cubicBezTo>
                    <a:pt x="590" y="303"/>
                    <a:pt x="577" y="290"/>
                    <a:pt x="576" y="275"/>
                  </a:cubicBezTo>
                  <a:cubicBezTo>
                    <a:pt x="576" y="275"/>
                    <a:pt x="576" y="275"/>
                    <a:pt x="484" y="210"/>
                  </a:cubicBezTo>
                  <a:cubicBezTo>
                    <a:pt x="478" y="208"/>
                    <a:pt x="477" y="201"/>
                    <a:pt x="481" y="195"/>
                  </a:cubicBezTo>
                  <a:cubicBezTo>
                    <a:pt x="484" y="190"/>
                    <a:pt x="490" y="188"/>
                    <a:pt x="496" y="191"/>
                  </a:cubicBezTo>
                  <a:cubicBezTo>
                    <a:pt x="496" y="191"/>
                    <a:pt x="496" y="191"/>
                    <a:pt x="595" y="246"/>
                  </a:cubicBezTo>
                  <a:cubicBezTo>
                    <a:pt x="599" y="245"/>
                    <a:pt x="602" y="244"/>
                    <a:pt x="606" y="244"/>
                  </a:cubicBezTo>
                  <a:cubicBezTo>
                    <a:pt x="608" y="244"/>
                    <a:pt x="611" y="244"/>
                    <a:pt x="613" y="245"/>
                  </a:cubicBezTo>
                  <a:cubicBezTo>
                    <a:pt x="613" y="245"/>
                    <a:pt x="603" y="254"/>
                    <a:pt x="756" y="138"/>
                  </a:cubicBezTo>
                  <a:cubicBezTo>
                    <a:pt x="758" y="137"/>
                    <a:pt x="762" y="136"/>
                    <a:pt x="764" y="136"/>
                  </a:cubicBezTo>
                  <a:cubicBezTo>
                    <a:pt x="767" y="136"/>
                    <a:pt x="770" y="138"/>
                    <a:pt x="772" y="140"/>
                  </a:cubicBezTo>
                  <a:cubicBezTo>
                    <a:pt x="776" y="145"/>
                    <a:pt x="776" y="153"/>
                    <a:pt x="770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3525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32746EA-7D64-4DB1-8209-55D0A873B5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32746EA-7D64-4DB1-8209-55D0A873B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B7D06AE-F9FC-9D27-8243-138B4EA41BBD}"/>
              </a:ext>
            </a:extLst>
          </p:cNvPr>
          <p:cNvSpPr/>
          <p:nvPr/>
        </p:nvSpPr>
        <p:spPr>
          <a:xfrm>
            <a:off x="195333" y="1004047"/>
            <a:ext cx="8625385" cy="1850040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GB">
                <a:cs typeface="Arial"/>
              </a:rPr>
              <a:t>Dividing large work packag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4934" y="48621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B3C75974-E091-4828-8F6D-B2BDDA6D9686}"/>
              </a:ext>
            </a:extLst>
          </p:cNvPr>
          <p:cNvSpPr/>
          <p:nvPr/>
        </p:nvSpPr>
        <p:spPr>
          <a:xfrm>
            <a:off x="198405" y="3024816"/>
            <a:ext cx="8619168" cy="14589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2133">
              <a:solidFill>
                <a:srgbClr val="171717"/>
              </a:solidFill>
              <a:latin typeface="Segoe UI" panose="020B0502040204020203" pitchFamily="34" charset="0"/>
            </a:endParaRPr>
          </a:p>
        </p:txBody>
      </p:sp>
      <p:sp>
        <p:nvSpPr>
          <p:cNvPr id="27" name="TextBox 86">
            <a:extLst>
              <a:ext uri="{FF2B5EF4-FFF2-40B4-BE49-F238E27FC236}">
                <a16:creationId xmlns:a16="http://schemas.microsoft.com/office/drawing/2014/main" id="{928976C1-9FC5-44E9-B2B0-15CC78E9E456}"/>
              </a:ext>
            </a:extLst>
          </p:cNvPr>
          <p:cNvSpPr txBox="1"/>
          <p:nvPr/>
        </p:nvSpPr>
        <p:spPr>
          <a:xfrm>
            <a:off x="243134" y="3115994"/>
            <a:ext cx="2381941" cy="13080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accent1"/>
                </a:solidFill>
                <a:latin typeface="Arial"/>
                <a:cs typeface="Arial"/>
              </a:rPr>
              <a:t>Epic</a:t>
            </a:r>
            <a:endParaRPr lang="en-US" sz="1050" b="1">
              <a:solidFill>
                <a:schemeClr val="accent1"/>
              </a:solidFill>
              <a:latin typeface="Arial"/>
              <a:cs typeface="Arial"/>
            </a:endParaRPr>
          </a:p>
          <a:p>
            <a:endParaRPr lang="en-US" sz="1050" b="1"/>
          </a:p>
          <a:p>
            <a:r>
              <a:rPr lang="en-US" sz="1050" b="1">
                <a:latin typeface="Arial"/>
                <a:cs typeface="Arial"/>
              </a:rPr>
              <a:t>Definition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A large body of work that can be broken down into several smaller stories. 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endParaRPr lang="en-US" sz="1050"/>
          </a:p>
        </p:txBody>
      </p:sp>
      <p:sp>
        <p:nvSpPr>
          <p:cNvPr id="28" name="TextBox 87">
            <a:extLst>
              <a:ext uri="{FF2B5EF4-FFF2-40B4-BE49-F238E27FC236}">
                <a16:creationId xmlns:a16="http://schemas.microsoft.com/office/drawing/2014/main" id="{376DE420-F9F7-4B0C-865A-26942D6FC278}"/>
              </a:ext>
            </a:extLst>
          </p:cNvPr>
          <p:cNvSpPr txBox="1"/>
          <p:nvPr/>
        </p:nvSpPr>
        <p:spPr>
          <a:xfrm>
            <a:off x="3172252" y="3119330"/>
            <a:ext cx="2673014" cy="11464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accent1"/>
                </a:solidFill>
                <a:latin typeface="Arial"/>
                <a:cs typeface="Arial"/>
              </a:rPr>
              <a:t>Story</a:t>
            </a:r>
            <a:endParaRPr lang="en-US" sz="1050" b="1">
              <a:solidFill>
                <a:schemeClr val="accent1"/>
              </a:solidFill>
              <a:latin typeface="Arial"/>
              <a:cs typeface="Arial"/>
            </a:endParaRPr>
          </a:p>
          <a:p>
            <a:endParaRPr lang="en-US" sz="1050" b="1"/>
          </a:p>
          <a:p>
            <a:r>
              <a:rPr lang="en-US" sz="1050" b="1">
                <a:latin typeface="Arial"/>
                <a:cs typeface="Arial"/>
              </a:rPr>
              <a:t>Definition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A feature or functionality from the user’s point of view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smallest unit of product development</a:t>
            </a: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213DBDE9-4625-4824-B064-42801E41A694}"/>
              </a:ext>
            </a:extLst>
          </p:cNvPr>
          <p:cNvSpPr/>
          <p:nvPr/>
        </p:nvSpPr>
        <p:spPr>
          <a:xfrm>
            <a:off x="3504665" y="1892441"/>
            <a:ext cx="711245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18" name="Rectangle 69">
            <a:extLst>
              <a:ext uri="{FF2B5EF4-FFF2-40B4-BE49-F238E27FC236}">
                <a16:creationId xmlns:a16="http://schemas.microsoft.com/office/drawing/2014/main" id="{18DD8EEA-BABC-4432-AE23-0E4E306C718F}"/>
              </a:ext>
            </a:extLst>
          </p:cNvPr>
          <p:cNvSpPr/>
          <p:nvPr/>
        </p:nvSpPr>
        <p:spPr>
          <a:xfrm>
            <a:off x="2248043" y="1892441"/>
            <a:ext cx="1162459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19" name="Rectangle 70">
            <a:extLst>
              <a:ext uri="{FF2B5EF4-FFF2-40B4-BE49-F238E27FC236}">
                <a16:creationId xmlns:a16="http://schemas.microsoft.com/office/drawing/2014/main" id="{32780B6F-6643-4BDA-92E1-6A740D670311}"/>
              </a:ext>
            </a:extLst>
          </p:cNvPr>
          <p:cNvSpPr/>
          <p:nvPr/>
        </p:nvSpPr>
        <p:spPr>
          <a:xfrm>
            <a:off x="4369996" y="1892441"/>
            <a:ext cx="540460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20" name="Rectangle 71">
            <a:extLst>
              <a:ext uri="{FF2B5EF4-FFF2-40B4-BE49-F238E27FC236}">
                <a16:creationId xmlns:a16="http://schemas.microsoft.com/office/drawing/2014/main" id="{CFBA2D6B-8EB5-4CDC-B2B0-F38BC846426A}"/>
              </a:ext>
            </a:extLst>
          </p:cNvPr>
          <p:cNvSpPr/>
          <p:nvPr/>
        </p:nvSpPr>
        <p:spPr>
          <a:xfrm>
            <a:off x="5003550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21" name="Rectangle 72">
            <a:extLst>
              <a:ext uri="{FF2B5EF4-FFF2-40B4-BE49-F238E27FC236}">
                <a16:creationId xmlns:a16="http://schemas.microsoft.com/office/drawing/2014/main" id="{E97B4EF3-EC45-4F2D-BC40-2B5CA442F807}"/>
              </a:ext>
            </a:extLst>
          </p:cNvPr>
          <p:cNvSpPr/>
          <p:nvPr/>
        </p:nvSpPr>
        <p:spPr>
          <a:xfrm>
            <a:off x="5480854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29" name="Rectangle 88">
            <a:extLst>
              <a:ext uri="{FF2B5EF4-FFF2-40B4-BE49-F238E27FC236}">
                <a16:creationId xmlns:a16="http://schemas.microsoft.com/office/drawing/2014/main" id="{67F92DD3-4EA0-42BA-B877-C8A1216D9010}"/>
              </a:ext>
            </a:extLst>
          </p:cNvPr>
          <p:cNvSpPr/>
          <p:nvPr/>
        </p:nvSpPr>
        <p:spPr>
          <a:xfrm>
            <a:off x="2246648" y="1462122"/>
            <a:ext cx="1970236" cy="297224"/>
          </a:xfrm>
          <a:prstGeom prst="round2SameRect">
            <a:avLst/>
          </a:prstGeom>
          <a:solidFill>
            <a:srgbClr val="0077D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0" name="Rectangle 89">
            <a:extLst>
              <a:ext uri="{FF2B5EF4-FFF2-40B4-BE49-F238E27FC236}">
                <a16:creationId xmlns:a16="http://schemas.microsoft.com/office/drawing/2014/main" id="{B8C41DB4-C724-4FBB-BD2A-D545C40A629D}"/>
              </a:ext>
            </a:extLst>
          </p:cNvPr>
          <p:cNvSpPr/>
          <p:nvPr/>
        </p:nvSpPr>
        <p:spPr>
          <a:xfrm>
            <a:off x="6495036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1" name="Rectangle 95">
            <a:extLst>
              <a:ext uri="{FF2B5EF4-FFF2-40B4-BE49-F238E27FC236}">
                <a16:creationId xmlns:a16="http://schemas.microsoft.com/office/drawing/2014/main" id="{D4C9691D-226D-4883-BAEC-A3A7B6766FB7}"/>
              </a:ext>
            </a:extLst>
          </p:cNvPr>
          <p:cNvSpPr/>
          <p:nvPr/>
        </p:nvSpPr>
        <p:spPr>
          <a:xfrm>
            <a:off x="6979503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2" name="Rectangle 96">
            <a:extLst>
              <a:ext uri="{FF2B5EF4-FFF2-40B4-BE49-F238E27FC236}">
                <a16:creationId xmlns:a16="http://schemas.microsoft.com/office/drawing/2014/main" id="{F3299B28-F7EB-4761-88D2-E64A372A1B90}"/>
              </a:ext>
            </a:extLst>
          </p:cNvPr>
          <p:cNvSpPr/>
          <p:nvPr/>
        </p:nvSpPr>
        <p:spPr>
          <a:xfrm>
            <a:off x="7455739" y="1892441"/>
            <a:ext cx="1013289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5" name="Rectangle 88">
            <a:extLst>
              <a:ext uri="{FF2B5EF4-FFF2-40B4-BE49-F238E27FC236}">
                <a16:creationId xmlns:a16="http://schemas.microsoft.com/office/drawing/2014/main" id="{473688FD-18C7-4A76-A5EA-60D2CAB25876}"/>
              </a:ext>
            </a:extLst>
          </p:cNvPr>
          <p:cNvSpPr/>
          <p:nvPr/>
        </p:nvSpPr>
        <p:spPr>
          <a:xfrm>
            <a:off x="4369996" y="1462146"/>
            <a:ext cx="1970236" cy="297224"/>
          </a:xfrm>
          <a:prstGeom prst="round2SameRect">
            <a:avLst/>
          </a:prstGeom>
          <a:solidFill>
            <a:srgbClr val="0077D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>
              <a:solidFill>
                <a:schemeClr val="tx1"/>
              </a:solidFill>
            </a:endParaRPr>
          </a:p>
        </p:txBody>
      </p:sp>
      <p:sp>
        <p:nvSpPr>
          <p:cNvPr id="36" name="Rectangle 88">
            <a:extLst>
              <a:ext uri="{FF2B5EF4-FFF2-40B4-BE49-F238E27FC236}">
                <a16:creationId xmlns:a16="http://schemas.microsoft.com/office/drawing/2014/main" id="{7BF7EEBF-5C28-4671-BFE7-8358A5400B62}"/>
              </a:ext>
            </a:extLst>
          </p:cNvPr>
          <p:cNvSpPr/>
          <p:nvPr/>
        </p:nvSpPr>
        <p:spPr>
          <a:xfrm>
            <a:off x="6493343" y="1462170"/>
            <a:ext cx="1970236" cy="297224"/>
          </a:xfrm>
          <a:prstGeom prst="round2SameRect">
            <a:avLst/>
          </a:prstGeom>
          <a:solidFill>
            <a:srgbClr val="0077D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79625168-6248-43CA-B3E4-F4B33D8E69CE}"/>
              </a:ext>
            </a:extLst>
          </p:cNvPr>
          <p:cNvSpPr/>
          <p:nvPr/>
        </p:nvSpPr>
        <p:spPr>
          <a:xfrm>
            <a:off x="5957090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41" name="TextBox 87">
            <a:extLst>
              <a:ext uri="{FF2B5EF4-FFF2-40B4-BE49-F238E27FC236}">
                <a16:creationId xmlns:a16="http://schemas.microsoft.com/office/drawing/2014/main" id="{2E99D45E-8AF0-4B05-8CFF-2CE77C7BA3D6}"/>
              </a:ext>
            </a:extLst>
          </p:cNvPr>
          <p:cNvSpPr txBox="1"/>
          <p:nvPr/>
        </p:nvSpPr>
        <p:spPr>
          <a:xfrm>
            <a:off x="6144019" y="3119330"/>
            <a:ext cx="2681543" cy="11464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accent1"/>
                </a:solidFill>
                <a:latin typeface="Arial"/>
                <a:cs typeface="Arial"/>
              </a:rPr>
              <a:t>Task</a:t>
            </a:r>
            <a:endParaRPr lang="en-US" sz="1000" b="1">
              <a:solidFill>
                <a:schemeClr val="accent1"/>
              </a:solidFill>
              <a:latin typeface="Arial"/>
              <a:cs typeface="Arial"/>
            </a:endParaRPr>
          </a:p>
          <a:p>
            <a:endParaRPr lang="en-US" sz="1050" b="1"/>
          </a:p>
          <a:p>
            <a:r>
              <a:rPr lang="en-US" sz="1050" b="1">
                <a:latin typeface="Arial"/>
                <a:cs typeface="Arial"/>
              </a:rPr>
              <a:t>Definition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Smallest piece of work to be tracked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Breaks the work of a Story further down.</a:t>
            </a:r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69234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feil: Chevron 4">
            <a:extLst>
              <a:ext uri="{FF2B5EF4-FFF2-40B4-BE49-F238E27FC236}">
                <a16:creationId xmlns:a16="http://schemas.microsoft.com/office/drawing/2014/main" id="{D4F0FA99-6796-1AA5-4150-8A4302781366}"/>
              </a:ext>
            </a:extLst>
          </p:cNvPr>
          <p:cNvSpPr/>
          <p:nvPr/>
        </p:nvSpPr>
        <p:spPr>
          <a:xfrm>
            <a:off x="2595730" y="3490146"/>
            <a:ext cx="327141" cy="522978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tx1"/>
              </a:solidFill>
            </a:endParaRPr>
          </a:p>
        </p:txBody>
      </p:sp>
      <p:sp>
        <p:nvSpPr>
          <p:cNvPr id="43" name="Pfeil: Chevron 42">
            <a:extLst>
              <a:ext uri="{FF2B5EF4-FFF2-40B4-BE49-F238E27FC236}">
                <a16:creationId xmlns:a16="http://schemas.microsoft.com/office/drawing/2014/main" id="{EB335A96-7625-A43B-E74F-2C305F3B40F1}"/>
              </a:ext>
            </a:extLst>
          </p:cNvPr>
          <p:cNvSpPr/>
          <p:nvPr/>
        </p:nvSpPr>
        <p:spPr>
          <a:xfrm>
            <a:off x="5737553" y="3490146"/>
            <a:ext cx="327141" cy="522978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0507D48-8C87-FD51-334D-53DAA6B2CBAC}"/>
              </a:ext>
            </a:extLst>
          </p:cNvPr>
          <p:cNvSpPr txBox="1"/>
          <p:nvPr/>
        </p:nvSpPr>
        <p:spPr>
          <a:xfrm>
            <a:off x="2717010" y="1093655"/>
            <a:ext cx="3442648" cy="2572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4000"/>
              </a:lnSpc>
            </a:pPr>
            <a:r>
              <a:rPr lang="en-GB" sz="1600">
                <a:latin typeface="+mn-lt"/>
                <a:cs typeface="Arial"/>
              </a:rPr>
              <a:t>Applied Machine Intelligence Project</a:t>
            </a:r>
          </a:p>
        </p:txBody>
      </p:sp>
      <p:pic>
        <p:nvPicPr>
          <p:cNvPr id="11" name="Grafik 12" descr="Krone">
            <a:extLst>
              <a:ext uri="{FF2B5EF4-FFF2-40B4-BE49-F238E27FC236}">
                <a16:creationId xmlns:a16="http://schemas.microsoft.com/office/drawing/2014/main" id="{DEAD4403-DB8A-4FBA-81DA-01758FCEEE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5336" y="1434494"/>
            <a:ext cx="299351" cy="305996"/>
          </a:xfrm>
          <a:prstGeom prst="rect">
            <a:avLst/>
          </a:prstGeom>
        </p:spPr>
      </p:pic>
      <p:pic>
        <p:nvPicPr>
          <p:cNvPr id="23" name="Grafik 25" descr="Trophäe">
            <a:extLst>
              <a:ext uri="{FF2B5EF4-FFF2-40B4-BE49-F238E27FC236}">
                <a16:creationId xmlns:a16="http://schemas.microsoft.com/office/drawing/2014/main" id="{F6423C1A-7749-4EA2-880C-E4B2CF74A4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9724" y="1896327"/>
            <a:ext cx="280886" cy="274241"/>
          </a:xfrm>
          <a:prstGeom prst="rect">
            <a:avLst/>
          </a:prstGeom>
        </p:spPr>
      </p:pic>
      <p:sp>
        <p:nvSpPr>
          <p:cNvPr id="10" name="TextBox 47">
            <a:extLst>
              <a:ext uri="{FF2B5EF4-FFF2-40B4-BE49-F238E27FC236}">
                <a16:creationId xmlns:a16="http://schemas.microsoft.com/office/drawing/2014/main" id="{DF277327-4045-4EA1-A918-F580CDE8336C}"/>
              </a:ext>
            </a:extLst>
          </p:cNvPr>
          <p:cNvSpPr txBox="1"/>
          <p:nvPr/>
        </p:nvSpPr>
        <p:spPr>
          <a:xfrm>
            <a:off x="1123881" y="1463923"/>
            <a:ext cx="1422753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67">
                <a:solidFill>
                  <a:schemeClr val="tx1">
                    <a:lumMod val="75000"/>
                    <a:lumOff val="25000"/>
                  </a:schemeClr>
                </a:solidFill>
              </a:rPr>
              <a:t>Epics</a:t>
            </a:r>
          </a:p>
        </p:txBody>
      </p:sp>
      <p:sp>
        <p:nvSpPr>
          <p:cNvPr id="24" name="TextBox 76">
            <a:extLst>
              <a:ext uri="{FF2B5EF4-FFF2-40B4-BE49-F238E27FC236}">
                <a16:creationId xmlns:a16="http://schemas.microsoft.com/office/drawing/2014/main" id="{F290C787-B10E-4A8C-BDA8-19CE0DE5B23D}"/>
              </a:ext>
            </a:extLst>
          </p:cNvPr>
          <p:cNvSpPr txBox="1"/>
          <p:nvPr/>
        </p:nvSpPr>
        <p:spPr>
          <a:xfrm>
            <a:off x="1123881" y="1870726"/>
            <a:ext cx="165947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67">
                <a:solidFill>
                  <a:schemeClr val="tx1">
                    <a:lumMod val="75000"/>
                    <a:lumOff val="25000"/>
                  </a:schemeClr>
                </a:solidFill>
              </a:rPr>
              <a:t>Stories</a:t>
            </a:r>
          </a:p>
        </p:txBody>
      </p:sp>
      <p:sp>
        <p:nvSpPr>
          <p:cNvPr id="48" name="Rectangle 69">
            <a:extLst>
              <a:ext uri="{FF2B5EF4-FFF2-40B4-BE49-F238E27FC236}">
                <a16:creationId xmlns:a16="http://schemas.microsoft.com/office/drawing/2014/main" id="{186BA4C9-5414-71D2-8DE1-FF762360E96B}"/>
              </a:ext>
            </a:extLst>
          </p:cNvPr>
          <p:cNvSpPr/>
          <p:nvPr/>
        </p:nvSpPr>
        <p:spPr>
          <a:xfrm rot="10800000">
            <a:off x="2246647" y="2326759"/>
            <a:ext cx="172997" cy="297224"/>
          </a:xfrm>
          <a:prstGeom prst="round1Rect">
            <a:avLst>
              <a:gd name="adj" fmla="val 29000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49" name="Rectangle 69">
            <a:extLst>
              <a:ext uri="{FF2B5EF4-FFF2-40B4-BE49-F238E27FC236}">
                <a16:creationId xmlns:a16="http://schemas.microsoft.com/office/drawing/2014/main" id="{96C93B38-7EF5-1ACA-6554-F7CE57D19FF8}"/>
              </a:ext>
            </a:extLst>
          </p:cNvPr>
          <p:cNvSpPr/>
          <p:nvPr/>
        </p:nvSpPr>
        <p:spPr>
          <a:xfrm>
            <a:off x="2468423" y="2326759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0" name="Rectangle 69">
            <a:extLst>
              <a:ext uri="{FF2B5EF4-FFF2-40B4-BE49-F238E27FC236}">
                <a16:creationId xmlns:a16="http://schemas.microsoft.com/office/drawing/2014/main" id="{DF3DC587-DC4C-7252-7522-E79D55502EE6}"/>
              </a:ext>
            </a:extLst>
          </p:cNvPr>
          <p:cNvSpPr/>
          <p:nvPr/>
        </p:nvSpPr>
        <p:spPr>
          <a:xfrm>
            <a:off x="2700448" y="2326758"/>
            <a:ext cx="179808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1" name="Rectangle 69">
            <a:extLst>
              <a:ext uri="{FF2B5EF4-FFF2-40B4-BE49-F238E27FC236}">
                <a16:creationId xmlns:a16="http://schemas.microsoft.com/office/drawing/2014/main" id="{3D486A2B-4A36-4D84-127F-E6085C320FF3}"/>
              </a:ext>
            </a:extLst>
          </p:cNvPr>
          <p:cNvSpPr/>
          <p:nvPr/>
        </p:nvSpPr>
        <p:spPr>
          <a:xfrm>
            <a:off x="2946094" y="2326759"/>
            <a:ext cx="210512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2" name="Rectangle 69">
            <a:extLst>
              <a:ext uri="{FF2B5EF4-FFF2-40B4-BE49-F238E27FC236}">
                <a16:creationId xmlns:a16="http://schemas.microsoft.com/office/drawing/2014/main" id="{14033245-16F5-802F-A702-E00A34044B63}"/>
              </a:ext>
            </a:extLst>
          </p:cNvPr>
          <p:cNvSpPr/>
          <p:nvPr/>
        </p:nvSpPr>
        <p:spPr>
          <a:xfrm>
            <a:off x="3227579" y="2326758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3" name="Rectangle 69">
            <a:extLst>
              <a:ext uri="{FF2B5EF4-FFF2-40B4-BE49-F238E27FC236}">
                <a16:creationId xmlns:a16="http://schemas.microsoft.com/office/drawing/2014/main" id="{A2C81E79-436B-6964-8095-6B97783BD2A8}"/>
              </a:ext>
            </a:extLst>
          </p:cNvPr>
          <p:cNvSpPr/>
          <p:nvPr/>
        </p:nvSpPr>
        <p:spPr>
          <a:xfrm>
            <a:off x="3500535" y="2326759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7" name="Rectangle 69">
            <a:extLst>
              <a:ext uri="{FF2B5EF4-FFF2-40B4-BE49-F238E27FC236}">
                <a16:creationId xmlns:a16="http://schemas.microsoft.com/office/drawing/2014/main" id="{A7919ACD-AE72-3234-B4F3-B79F79CC7BB5}"/>
              </a:ext>
            </a:extLst>
          </p:cNvPr>
          <p:cNvSpPr/>
          <p:nvPr/>
        </p:nvSpPr>
        <p:spPr>
          <a:xfrm>
            <a:off x="3742765" y="2326758"/>
            <a:ext cx="22724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8" name="Rectangle 69">
            <a:extLst>
              <a:ext uri="{FF2B5EF4-FFF2-40B4-BE49-F238E27FC236}">
                <a16:creationId xmlns:a16="http://schemas.microsoft.com/office/drawing/2014/main" id="{D36F71D0-72E3-3F26-E420-BD392EF66E3E}"/>
              </a:ext>
            </a:extLst>
          </p:cNvPr>
          <p:cNvSpPr/>
          <p:nvPr/>
        </p:nvSpPr>
        <p:spPr>
          <a:xfrm rot="10800000" flipH="1">
            <a:off x="4029386" y="2326759"/>
            <a:ext cx="172997" cy="297224"/>
          </a:xfrm>
          <a:prstGeom prst="round1Rect">
            <a:avLst>
              <a:gd name="adj" fmla="val 34286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9" name="Rectangle 69">
            <a:extLst>
              <a:ext uri="{FF2B5EF4-FFF2-40B4-BE49-F238E27FC236}">
                <a16:creationId xmlns:a16="http://schemas.microsoft.com/office/drawing/2014/main" id="{E060D507-11BC-9A93-C334-DC2548455264}"/>
              </a:ext>
            </a:extLst>
          </p:cNvPr>
          <p:cNvSpPr/>
          <p:nvPr/>
        </p:nvSpPr>
        <p:spPr>
          <a:xfrm rot="10800000">
            <a:off x="4370579" y="2326758"/>
            <a:ext cx="172997" cy="297224"/>
          </a:xfrm>
          <a:prstGeom prst="round1Rect">
            <a:avLst>
              <a:gd name="adj" fmla="val 32524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0" name="Rectangle 69">
            <a:extLst>
              <a:ext uri="{FF2B5EF4-FFF2-40B4-BE49-F238E27FC236}">
                <a16:creationId xmlns:a16="http://schemas.microsoft.com/office/drawing/2014/main" id="{5BE22C73-78F5-EA4D-8EB3-4FA1275F9D47}"/>
              </a:ext>
            </a:extLst>
          </p:cNvPr>
          <p:cNvSpPr/>
          <p:nvPr/>
        </p:nvSpPr>
        <p:spPr>
          <a:xfrm>
            <a:off x="4611820" y="2326326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7E754F67-EE16-6B6C-7096-EE0709173E8F}"/>
              </a:ext>
            </a:extLst>
          </p:cNvPr>
          <p:cNvSpPr/>
          <p:nvPr/>
        </p:nvSpPr>
        <p:spPr>
          <a:xfrm>
            <a:off x="4850651" y="2326758"/>
            <a:ext cx="57649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2" name="Rectangle 69">
            <a:extLst>
              <a:ext uri="{FF2B5EF4-FFF2-40B4-BE49-F238E27FC236}">
                <a16:creationId xmlns:a16="http://schemas.microsoft.com/office/drawing/2014/main" id="{0A015BE8-D96A-0368-60D7-31246B9CA886}"/>
              </a:ext>
            </a:extLst>
          </p:cNvPr>
          <p:cNvSpPr/>
          <p:nvPr/>
        </p:nvSpPr>
        <p:spPr>
          <a:xfrm>
            <a:off x="5009631" y="2326759"/>
            <a:ext cx="137501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3" name="Rectangle 69">
            <a:extLst>
              <a:ext uri="{FF2B5EF4-FFF2-40B4-BE49-F238E27FC236}">
                <a16:creationId xmlns:a16="http://schemas.microsoft.com/office/drawing/2014/main" id="{760C6FB6-8331-9CE0-3F8B-B69AA22BEE90}"/>
              </a:ext>
            </a:extLst>
          </p:cNvPr>
          <p:cNvSpPr/>
          <p:nvPr/>
        </p:nvSpPr>
        <p:spPr>
          <a:xfrm>
            <a:off x="5206505" y="2326758"/>
            <a:ext cx="180186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4" name="Rectangle 69">
            <a:extLst>
              <a:ext uri="{FF2B5EF4-FFF2-40B4-BE49-F238E27FC236}">
                <a16:creationId xmlns:a16="http://schemas.microsoft.com/office/drawing/2014/main" id="{0EC02CA4-95ED-9C7A-9811-2D012F86BA26}"/>
              </a:ext>
            </a:extLst>
          </p:cNvPr>
          <p:cNvSpPr/>
          <p:nvPr/>
        </p:nvSpPr>
        <p:spPr>
          <a:xfrm>
            <a:off x="5479459" y="2326759"/>
            <a:ext cx="151329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5" name="Rectangle 69">
            <a:extLst>
              <a:ext uri="{FF2B5EF4-FFF2-40B4-BE49-F238E27FC236}">
                <a16:creationId xmlns:a16="http://schemas.microsoft.com/office/drawing/2014/main" id="{5AE23A79-10E5-200C-940B-0F4BCA27E660}"/>
              </a:ext>
            </a:extLst>
          </p:cNvPr>
          <p:cNvSpPr/>
          <p:nvPr/>
        </p:nvSpPr>
        <p:spPr>
          <a:xfrm>
            <a:off x="5684177" y="2326759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6" name="Rectangle 69">
            <a:extLst>
              <a:ext uri="{FF2B5EF4-FFF2-40B4-BE49-F238E27FC236}">
                <a16:creationId xmlns:a16="http://schemas.microsoft.com/office/drawing/2014/main" id="{6EB88155-7826-85D3-F880-727449FF3A1F}"/>
              </a:ext>
            </a:extLst>
          </p:cNvPr>
          <p:cNvSpPr/>
          <p:nvPr/>
        </p:nvSpPr>
        <p:spPr>
          <a:xfrm>
            <a:off x="5961053" y="2326758"/>
            <a:ext cx="145343" cy="301832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7" name="Rectangle 69">
            <a:extLst>
              <a:ext uri="{FF2B5EF4-FFF2-40B4-BE49-F238E27FC236}">
                <a16:creationId xmlns:a16="http://schemas.microsoft.com/office/drawing/2014/main" id="{A5E98CC3-8880-1DF9-5635-CA1E54D6E1FC}"/>
              </a:ext>
            </a:extLst>
          </p:cNvPr>
          <p:cNvSpPr/>
          <p:nvPr/>
        </p:nvSpPr>
        <p:spPr>
          <a:xfrm rot="10800000" flipH="1">
            <a:off x="6167234" y="2326326"/>
            <a:ext cx="172997" cy="297224"/>
          </a:xfrm>
          <a:prstGeom prst="round1Rect">
            <a:avLst>
              <a:gd name="adj" fmla="val 27238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8" name="Rectangle 69">
            <a:extLst>
              <a:ext uri="{FF2B5EF4-FFF2-40B4-BE49-F238E27FC236}">
                <a16:creationId xmlns:a16="http://schemas.microsoft.com/office/drawing/2014/main" id="{39480B07-C5D1-A8DF-84D0-EBBA2A64D872}"/>
              </a:ext>
            </a:extLst>
          </p:cNvPr>
          <p:cNvSpPr/>
          <p:nvPr/>
        </p:nvSpPr>
        <p:spPr>
          <a:xfrm rot="10800000">
            <a:off x="6494512" y="2326758"/>
            <a:ext cx="140735" cy="301832"/>
          </a:xfrm>
          <a:prstGeom prst="round1Rect">
            <a:avLst>
              <a:gd name="adj" fmla="val 33993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9" name="Rectangle 69">
            <a:extLst>
              <a:ext uri="{FF2B5EF4-FFF2-40B4-BE49-F238E27FC236}">
                <a16:creationId xmlns:a16="http://schemas.microsoft.com/office/drawing/2014/main" id="{FA3EE49C-EF1F-5A0E-E9A3-128BFC8EFF5D}"/>
              </a:ext>
            </a:extLst>
          </p:cNvPr>
          <p:cNvSpPr/>
          <p:nvPr/>
        </p:nvSpPr>
        <p:spPr>
          <a:xfrm>
            <a:off x="6690699" y="2326759"/>
            <a:ext cx="185978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18224FE-EC0D-FE48-BC9F-D5CA364EC7BF}"/>
              </a:ext>
            </a:extLst>
          </p:cNvPr>
          <p:cNvSpPr/>
          <p:nvPr/>
        </p:nvSpPr>
        <p:spPr>
          <a:xfrm>
            <a:off x="6980161" y="2325600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1" name="Rectangle 69">
            <a:extLst>
              <a:ext uri="{FF2B5EF4-FFF2-40B4-BE49-F238E27FC236}">
                <a16:creationId xmlns:a16="http://schemas.microsoft.com/office/drawing/2014/main" id="{A03F9003-5C2D-2001-9B67-31B6C1165A07}"/>
              </a:ext>
            </a:extLst>
          </p:cNvPr>
          <p:cNvSpPr/>
          <p:nvPr/>
        </p:nvSpPr>
        <p:spPr>
          <a:xfrm>
            <a:off x="7206201" y="2325600"/>
            <a:ext cx="152392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2" name="Rectangle 69">
            <a:extLst>
              <a:ext uri="{FF2B5EF4-FFF2-40B4-BE49-F238E27FC236}">
                <a16:creationId xmlns:a16="http://schemas.microsoft.com/office/drawing/2014/main" id="{1D8DD2A7-F242-C04E-09B1-2377943DB9BD}"/>
              </a:ext>
            </a:extLst>
          </p:cNvPr>
          <p:cNvSpPr/>
          <p:nvPr/>
        </p:nvSpPr>
        <p:spPr>
          <a:xfrm>
            <a:off x="7452319" y="2325600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3" name="Rectangle 69">
            <a:extLst>
              <a:ext uri="{FF2B5EF4-FFF2-40B4-BE49-F238E27FC236}">
                <a16:creationId xmlns:a16="http://schemas.microsoft.com/office/drawing/2014/main" id="{11B72764-2F44-FA56-F3A3-617BD3B04EDB}"/>
              </a:ext>
            </a:extLst>
          </p:cNvPr>
          <p:cNvSpPr/>
          <p:nvPr/>
        </p:nvSpPr>
        <p:spPr>
          <a:xfrm>
            <a:off x="7678408" y="2325600"/>
            <a:ext cx="217398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4" name="Rectangle 69">
            <a:extLst>
              <a:ext uri="{FF2B5EF4-FFF2-40B4-BE49-F238E27FC236}">
                <a16:creationId xmlns:a16="http://schemas.microsoft.com/office/drawing/2014/main" id="{D77D8D3E-6549-116B-AA0B-00CD52F41D0B}"/>
              </a:ext>
            </a:extLst>
          </p:cNvPr>
          <p:cNvSpPr/>
          <p:nvPr/>
        </p:nvSpPr>
        <p:spPr>
          <a:xfrm>
            <a:off x="7961646" y="2326758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5" name="Rectangle 69">
            <a:extLst>
              <a:ext uri="{FF2B5EF4-FFF2-40B4-BE49-F238E27FC236}">
                <a16:creationId xmlns:a16="http://schemas.microsoft.com/office/drawing/2014/main" id="{0BE1396D-71A0-34F5-E915-0DCAC1DCDE39}"/>
              </a:ext>
            </a:extLst>
          </p:cNvPr>
          <p:cNvSpPr/>
          <p:nvPr/>
        </p:nvSpPr>
        <p:spPr>
          <a:xfrm rot="10800000" flipH="1">
            <a:off x="8191139" y="2326759"/>
            <a:ext cx="272440" cy="297224"/>
          </a:xfrm>
          <a:prstGeom prst="round1Rect">
            <a:avLst>
              <a:gd name="adj" fmla="val 30092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pic>
        <p:nvPicPr>
          <p:cNvPr id="2" name="Grafik 5" descr="Prüfliste mit einfarbiger Füllung">
            <a:extLst>
              <a:ext uri="{FF2B5EF4-FFF2-40B4-BE49-F238E27FC236}">
                <a16:creationId xmlns:a16="http://schemas.microsoft.com/office/drawing/2014/main" id="{5F894B9C-3C6F-5E4F-AA91-39A8D57B819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2671" y="2327796"/>
            <a:ext cx="318044" cy="292820"/>
          </a:xfrm>
          <a:prstGeom prst="rect">
            <a:avLst/>
          </a:prstGeom>
        </p:spPr>
      </p:pic>
      <p:sp>
        <p:nvSpPr>
          <p:cNvPr id="76" name="TextBox 76">
            <a:extLst>
              <a:ext uri="{FF2B5EF4-FFF2-40B4-BE49-F238E27FC236}">
                <a16:creationId xmlns:a16="http://schemas.microsoft.com/office/drawing/2014/main" id="{88A0EBCD-9903-1418-E0B5-931174F534CC}"/>
              </a:ext>
            </a:extLst>
          </p:cNvPr>
          <p:cNvSpPr txBox="1"/>
          <p:nvPr/>
        </p:nvSpPr>
        <p:spPr>
          <a:xfrm>
            <a:off x="1123881" y="2322807"/>
            <a:ext cx="762821" cy="3181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5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Tasks</a:t>
            </a:r>
            <a:endParaRPr lang="en-US" sz="1467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7B9F847-5A62-7EA3-4CC2-988D58C328D4}"/>
              </a:ext>
            </a:extLst>
          </p:cNvPr>
          <p:cNvSpPr txBox="1"/>
          <p:nvPr/>
        </p:nvSpPr>
        <p:spPr>
          <a:xfrm>
            <a:off x="345724" y="662895"/>
            <a:ext cx="327727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>
                <a:latin typeface="+mn-lt"/>
              </a:rPr>
              <a:t>Tracking Progress using JIRA Software</a:t>
            </a:r>
            <a:endParaRPr lang="en-US" sz="1600">
              <a:latin typeface="+mn-lt"/>
            </a:endParaRPr>
          </a:p>
        </p:txBody>
      </p:sp>
      <p:pic>
        <p:nvPicPr>
          <p:cNvPr id="77" name="Picture 4" descr="Jira Logo - Logo, zeichen, emblem, symbol. Geschichte und Bedeutung">
            <a:extLst>
              <a:ext uri="{FF2B5EF4-FFF2-40B4-BE49-F238E27FC236}">
                <a16:creationId xmlns:a16="http://schemas.microsoft.com/office/drawing/2014/main" id="{70A347A1-5634-509D-EDEE-0DBE6001C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914" y="223606"/>
            <a:ext cx="742301" cy="417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NavigationTriangle">
            <a:extLst>
              <a:ext uri="{FF2B5EF4-FFF2-40B4-BE49-F238E27FC236}">
                <a16:creationId xmlns:a16="http://schemas.microsoft.com/office/drawing/2014/main" id="{808F65C8-7454-4312-8B78-A264D663CF77}"/>
              </a:ext>
            </a:extLst>
          </p:cNvPr>
          <p:cNvSpPr/>
          <p:nvPr/>
        </p:nvSpPr>
        <p:spPr>
          <a:xfrm rot="16200000">
            <a:off x="8066766" y="-2144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91EE2EC3-2977-4CBA-BD70-F2EA72BD9D6C}"/>
              </a:ext>
            </a:extLst>
          </p:cNvPr>
          <p:cNvGrpSpPr>
            <a:grpSpLocks noChangeAspect="1"/>
          </p:cNvGrpSpPr>
          <p:nvPr/>
        </p:nvGrpSpPr>
        <p:grpSpPr>
          <a:xfrm>
            <a:off x="8611619" y="76851"/>
            <a:ext cx="457200" cy="457200"/>
            <a:chOff x="7324950" y="3200401"/>
            <a:chExt cx="457200" cy="457200"/>
          </a:xfrm>
        </p:grpSpPr>
        <p:sp>
          <p:nvSpPr>
            <p:cNvPr id="80" name="AutoShape 17">
              <a:extLst>
                <a:ext uri="{FF2B5EF4-FFF2-40B4-BE49-F238E27FC236}">
                  <a16:creationId xmlns:a16="http://schemas.microsoft.com/office/drawing/2014/main" id="{6C9C4CA9-61BB-407B-B72C-081314FE60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id="{F0F4C056-4E99-45CC-95FA-8EB50C1D39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7" y="3230227"/>
              <a:ext cx="402167" cy="398126"/>
            </a:xfrm>
            <a:custGeom>
              <a:avLst/>
              <a:gdLst>
                <a:gd name="T0" fmla="*/ 879 w 879"/>
                <a:gd name="T1" fmla="*/ 273 h 870"/>
                <a:gd name="T2" fmla="*/ 606 w 879"/>
                <a:gd name="T3" fmla="*/ 0 h 870"/>
                <a:gd name="T4" fmla="*/ 333 w 879"/>
                <a:gd name="T5" fmla="*/ 273 h 870"/>
                <a:gd name="T6" fmla="*/ 334 w 879"/>
                <a:gd name="T7" fmla="*/ 296 h 870"/>
                <a:gd name="T8" fmla="*/ 312 w 879"/>
                <a:gd name="T9" fmla="*/ 296 h 870"/>
                <a:gd name="T10" fmla="*/ 292 w 879"/>
                <a:gd name="T11" fmla="*/ 296 h 870"/>
                <a:gd name="T12" fmla="*/ 253 w 879"/>
                <a:gd name="T13" fmla="*/ 261 h 870"/>
                <a:gd name="T14" fmla="*/ 190 w 879"/>
                <a:gd name="T15" fmla="*/ 280 h 870"/>
                <a:gd name="T16" fmla="*/ 131 w 879"/>
                <a:gd name="T17" fmla="*/ 313 h 870"/>
                <a:gd name="T18" fmla="*/ 131 w 879"/>
                <a:gd name="T19" fmla="*/ 366 h 870"/>
                <a:gd name="T20" fmla="*/ 70 w 879"/>
                <a:gd name="T21" fmla="*/ 447 h 870"/>
                <a:gd name="T22" fmla="*/ 22 w 879"/>
                <a:gd name="T23" fmla="*/ 462 h 870"/>
                <a:gd name="T24" fmla="*/ 3 w 879"/>
                <a:gd name="T25" fmla="*/ 593 h 870"/>
                <a:gd name="T26" fmla="*/ 48 w 879"/>
                <a:gd name="T27" fmla="*/ 619 h 870"/>
                <a:gd name="T28" fmla="*/ 66 w 879"/>
                <a:gd name="T29" fmla="*/ 672 h 870"/>
                <a:gd name="T30" fmla="*/ 90 w 879"/>
                <a:gd name="T31" fmla="*/ 718 h 870"/>
                <a:gd name="T32" fmla="*/ 78 w 879"/>
                <a:gd name="T33" fmla="*/ 768 h 870"/>
                <a:gd name="T34" fmla="*/ 181 w 879"/>
                <a:gd name="T35" fmla="*/ 847 h 870"/>
                <a:gd name="T36" fmla="*/ 225 w 879"/>
                <a:gd name="T37" fmla="*/ 820 h 870"/>
                <a:gd name="T38" fmla="*/ 315 w 879"/>
                <a:gd name="T39" fmla="*/ 836 h 870"/>
                <a:gd name="T40" fmla="*/ 336 w 879"/>
                <a:gd name="T41" fmla="*/ 834 h 870"/>
                <a:gd name="T42" fmla="*/ 375 w 879"/>
                <a:gd name="T43" fmla="*/ 870 h 870"/>
                <a:gd name="T44" fmla="*/ 435 w 879"/>
                <a:gd name="T45" fmla="*/ 851 h 870"/>
                <a:gd name="T46" fmla="*/ 491 w 879"/>
                <a:gd name="T47" fmla="*/ 819 h 870"/>
                <a:gd name="T48" fmla="*/ 491 w 879"/>
                <a:gd name="T49" fmla="*/ 768 h 870"/>
                <a:gd name="T50" fmla="*/ 558 w 879"/>
                <a:gd name="T51" fmla="*/ 677 h 870"/>
                <a:gd name="T52" fmla="*/ 606 w 879"/>
                <a:gd name="T53" fmla="*/ 662 h 870"/>
                <a:gd name="T54" fmla="*/ 622 w 879"/>
                <a:gd name="T55" fmla="*/ 548 h 870"/>
                <a:gd name="T56" fmla="*/ 622 w 879"/>
                <a:gd name="T57" fmla="*/ 546 h 870"/>
                <a:gd name="T58" fmla="*/ 879 w 879"/>
                <a:gd name="T59" fmla="*/ 273 h 870"/>
                <a:gd name="T60" fmla="*/ 367 w 879"/>
                <a:gd name="T61" fmla="*/ 690 h 870"/>
                <a:gd name="T62" fmla="*/ 313 w 879"/>
                <a:gd name="T63" fmla="*/ 702 h 870"/>
                <a:gd name="T64" fmla="*/ 189 w 879"/>
                <a:gd name="T65" fmla="*/ 619 h 870"/>
                <a:gd name="T66" fmla="*/ 259 w 879"/>
                <a:gd name="T67" fmla="*/ 442 h 870"/>
                <a:gd name="T68" fmla="*/ 311 w 879"/>
                <a:gd name="T69" fmla="*/ 430 h 870"/>
                <a:gd name="T70" fmla="*/ 436 w 879"/>
                <a:gd name="T71" fmla="*/ 512 h 870"/>
                <a:gd name="T72" fmla="*/ 367 w 879"/>
                <a:gd name="T73" fmla="*/ 690 h 870"/>
                <a:gd name="T74" fmla="*/ 770 w 879"/>
                <a:gd name="T75" fmla="*/ 157 h 870"/>
                <a:gd name="T76" fmla="*/ 636 w 879"/>
                <a:gd name="T77" fmla="*/ 273 h 870"/>
                <a:gd name="T78" fmla="*/ 636 w 879"/>
                <a:gd name="T79" fmla="*/ 274 h 870"/>
                <a:gd name="T80" fmla="*/ 606 w 879"/>
                <a:gd name="T81" fmla="*/ 303 h 870"/>
                <a:gd name="T82" fmla="*/ 576 w 879"/>
                <a:gd name="T83" fmla="*/ 275 h 870"/>
                <a:gd name="T84" fmla="*/ 484 w 879"/>
                <a:gd name="T85" fmla="*/ 210 h 870"/>
                <a:gd name="T86" fmla="*/ 481 w 879"/>
                <a:gd name="T87" fmla="*/ 195 h 870"/>
                <a:gd name="T88" fmla="*/ 496 w 879"/>
                <a:gd name="T89" fmla="*/ 191 h 870"/>
                <a:gd name="T90" fmla="*/ 595 w 879"/>
                <a:gd name="T91" fmla="*/ 246 h 870"/>
                <a:gd name="T92" fmla="*/ 606 w 879"/>
                <a:gd name="T93" fmla="*/ 244 h 870"/>
                <a:gd name="T94" fmla="*/ 613 w 879"/>
                <a:gd name="T95" fmla="*/ 245 h 870"/>
                <a:gd name="T96" fmla="*/ 756 w 879"/>
                <a:gd name="T97" fmla="*/ 138 h 870"/>
                <a:gd name="T98" fmla="*/ 764 w 879"/>
                <a:gd name="T99" fmla="*/ 136 h 870"/>
                <a:gd name="T100" fmla="*/ 772 w 879"/>
                <a:gd name="T101" fmla="*/ 140 h 870"/>
                <a:gd name="T102" fmla="*/ 770 w 879"/>
                <a:gd name="T103" fmla="*/ 157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79" h="870">
                  <a:moveTo>
                    <a:pt x="879" y="273"/>
                  </a:moveTo>
                  <a:cubicBezTo>
                    <a:pt x="879" y="122"/>
                    <a:pt x="757" y="0"/>
                    <a:pt x="606" y="0"/>
                  </a:cubicBezTo>
                  <a:cubicBezTo>
                    <a:pt x="455" y="0"/>
                    <a:pt x="333" y="122"/>
                    <a:pt x="333" y="273"/>
                  </a:cubicBezTo>
                  <a:cubicBezTo>
                    <a:pt x="333" y="281"/>
                    <a:pt x="333" y="289"/>
                    <a:pt x="334" y="296"/>
                  </a:cubicBezTo>
                  <a:cubicBezTo>
                    <a:pt x="326" y="296"/>
                    <a:pt x="319" y="296"/>
                    <a:pt x="312" y="296"/>
                  </a:cubicBezTo>
                  <a:cubicBezTo>
                    <a:pt x="305" y="296"/>
                    <a:pt x="299" y="296"/>
                    <a:pt x="292" y="296"/>
                  </a:cubicBezTo>
                  <a:cubicBezTo>
                    <a:pt x="253" y="261"/>
                    <a:pt x="253" y="261"/>
                    <a:pt x="253" y="261"/>
                  </a:cubicBezTo>
                  <a:cubicBezTo>
                    <a:pt x="233" y="266"/>
                    <a:pt x="211" y="271"/>
                    <a:pt x="190" y="280"/>
                  </a:cubicBezTo>
                  <a:cubicBezTo>
                    <a:pt x="169" y="290"/>
                    <a:pt x="149" y="301"/>
                    <a:pt x="131" y="313"/>
                  </a:cubicBezTo>
                  <a:cubicBezTo>
                    <a:pt x="131" y="366"/>
                    <a:pt x="131" y="366"/>
                    <a:pt x="131" y="366"/>
                  </a:cubicBezTo>
                  <a:cubicBezTo>
                    <a:pt x="106" y="389"/>
                    <a:pt x="85" y="416"/>
                    <a:pt x="70" y="447"/>
                  </a:cubicBezTo>
                  <a:cubicBezTo>
                    <a:pt x="22" y="462"/>
                    <a:pt x="22" y="462"/>
                    <a:pt x="22" y="462"/>
                  </a:cubicBezTo>
                  <a:cubicBezTo>
                    <a:pt x="6" y="503"/>
                    <a:pt x="0" y="547"/>
                    <a:pt x="3" y="593"/>
                  </a:cubicBezTo>
                  <a:cubicBezTo>
                    <a:pt x="48" y="619"/>
                    <a:pt x="48" y="619"/>
                    <a:pt x="48" y="619"/>
                  </a:cubicBezTo>
                  <a:cubicBezTo>
                    <a:pt x="52" y="636"/>
                    <a:pt x="57" y="655"/>
                    <a:pt x="66" y="672"/>
                  </a:cubicBezTo>
                  <a:cubicBezTo>
                    <a:pt x="73" y="688"/>
                    <a:pt x="80" y="704"/>
                    <a:pt x="90" y="718"/>
                  </a:cubicBezTo>
                  <a:cubicBezTo>
                    <a:pt x="78" y="768"/>
                    <a:pt x="78" y="768"/>
                    <a:pt x="78" y="768"/>
                  </a:cubicBezTo>
                  <a:cubicBezTo>
                    <a:pt x="107" y="802"/>
                    <a:pt x="142" y="828"/>
                    <a:pt x="181" y="847"/>
                  </a:cubicBezTo>
                  <a:cubicBezTo>
                    <a:pt x="225" y="820"/>
                    <a:pt x="225" y="820"/>
                    <a:pt x="225" y="820"/>
                  </a:cubicBezTo>
                  <a:cubicBezTo>
                    <a:pt x="253" y="830"/>
                    <a:pt x="283" y="836"/>
                    <a:pt x="315" y="836"/>
                  </a:cubicBezTo>
                  <a:cubicBezTo>
                    <a:pt x="322" y="836"/>
                    <a:pt x="329" y="835"/>
                    <a:pt x="336" y="834"/>
                  </a:cubicBezTo>
                  <a:cubicBezTo>
                    <a:pt x="375" y="870"/>
                    <a:pt x="375" y="870"/>
                    <a:pt x="375" y="870"/>
                  </a:cubicBezTo>
                  <a:cubicBezTo>
                    <a:pt x="394" y="866"/>
                    <a:pt x="415" y="859"/>
                    <a:pt x="435" y="851"/>
                  </a:cubicBezTo>
                  <a:cubicBezTo>
                    <a:pt x="455" y="841"/>
                    <a:pt x="473" y="831"/>
                    <a:pt x="491" y="819"/>
                  </a:cubicBezTo>
                  <a:cubicBezTo>
                    <a:pt x="491" y="768"/>
                    <a:pt x="491" y="768"/>
                    <a:pt x="491" y="768"/>
                  </a:cubicBezTo>
                  <a:cubicBezTo>
                    <a:pt x="520" y="742"/>
                    <a:pt x="542" y="711"/>
                    <a:pt x="558" y="677"/>
                  </a:cubicBezTo>
                  <a:cubicBezTo>
                    <a:pt x="606" y="662"/>
                    <a:pt x="606" y="662"/>
                    <a:pt x="606" y="662"/>
                  </a:cubicBezTo>
                  <a:cubicBezTo>
                    <a:pt x="619" y="626"/>
                    <a:pt x="624" y="587"/>
                    <a:pt x="622" y="548"/>
                  </a:cubicBezTo>
                  <a:cubicBezTo>
                    <a:pt x="622" y="547"/>
                    <a:pt x="622" y="546"/>
                    <a:pt x="622" y="546"/>
                  </a:cubicBezTo>
                  <a:cubicBezTo>
                    <a:pt x="765" y="537"/>
                    <a:pt x="879" y="419"/>
                    <a:pt x="879" y="273"/>
                  </a:cubicBezTo>
                  <a:close/>
                  <a:moveTo>
                    <a:pt x="367" y="690"/>
                  </a:moveTo>
                  <a:cubicBezTo>
                    <a:pt x="349" y="698"/>
                    <a:pt x="331" y="702"/>
                    <a:pt x="313" y="702"/>
                  </a:cubicBezTo>
                  <a:cubicBezTo>
                    <a:pt x="261" y="702"/>
                    <a:pt x="211" y="670"/>
                    <a:pt x="189" y="619"/>
                  </a:cubicBezTo>
                  <a:cubicBezTo>
                    <a:pt x="159" y="550"/>
                    <a:pt x="191" y="471"/>
                    <a:pt x="259" y="442"/>
                  </a:cubicBezTo>
                  <a:cubicBezTo>
                    <a:pt x="276" y="434"/>
                    <a:pt x="294" y="431"/>
                    <a:pt x="311" y="430"/>
                  </a:cubicBezTo>
                  <a:cubicBezTo>
                    <a:pt x="364" y="430"/>
                    <a:pt x="415" y="461"/>
                    <a:pt x="436" y="512"/>
                  </a:cubicBezTo>
                  <a:cubicBezTo>
                    <a:pt x="466" y="580"/>
                    <a:pt x="435" y="661"/>
                    <a:pt x="367" y="690"/>
                  </a:cubicBezTo>
                  <a:close/>
                  <a:moveTo>
                    <a:pt x="770" y="157"/>
                  </a:moveTo>
                  <a:cubicBezTo>
                    <a:pt x="770" y="157"/>
                    <a:pt x="770" y="157"/>
                    <a:pt x="636" y="273"/>
                  </a:cubicBezTo>
                  <a:cubicBezTo>
                    <a:pt x="636" y="273"/>
                    <a:pt x="636" y="273"/>
                    <a:pt x="636" y="274"/>
                  </a:cubicBezTo>
                  <a:cubicBezTo>
                    <a:pt x="636" y="290"/>
                    <a:pt x="622" y="303"/>
                    <a:pt x="606" y="303"/>
                  </a:cubicBezTo>
                  <a:cubicBezTo>
                    <a:pt x="590" y="303"/>
                    <a:pt x="577" y="290"/>
                    <a:pt x="576" y="275"/>
                  </a:cubicBezTo>
                  <a:cubicBezTo>
                    <a:pt x="576" y="275"/>
                    <a:pt x="576" y="275"/>
                    <a:pt x="484" y="210"/>
                  </a:cubicBezTo>
                  <a:cubicBezTo>
                    <a:pt x="478" y="208"/>
                    <a:pt x="477" y="201"/>
                    <a:pt x="481" y="195"/>
                  </a:cubicBezTo>
                  <a:cubicBezTo>
                    <a:pt x="484" y="190"/>
                    <a:pt x="490" y="188"/>
                    <a:pt x="496" y="191"/>
                  </a:cubicBezTo>
                  <a:cubicBezTo>
                    <a:pt x="496" y="191"/>
                    <a:pt x="496" y="191"/>
                    <a:pt x="595" y="246"/>
                  </a:cubicBezTo>
                  <a:cubicBezTo>
                    <a:pt x="599" y="245"/>
                    <a:pt x="602" y="244"/>
                    <a:pt x="606" y="244"/>
                  </a:cubicBezTo>
                  <a:cubicBezTo>
                    <a:pt x="608" y="244"/>
                    <a:pt x="611" y="244"/>
                    <a:pt x="613" y="245"/>
                  </a:cubicBezTo>
                  <a:cubicBezTo>
                    <a:pt x="613" y="245"/>
                    <a:pt x="603" y="254"/>
                    <a:pt x="756" y="138"/>
                  </a:cubicBezTo>
                  <a:cubicBezTo>
                    <a:pt x="758" y="137"/>
                    <a:pt x="762" y="136"/>
                    <a:pt x="764" y="136"/>
                  </a:cubicBezTo>
                  <a:cubicBezTo>
                    <a:pt x="767" y="136"/>
                    <a:pt x="770" y="138"/>
                    <a:pt x="772" y="140"/>
                  </a:cubicBezTo>
                  <a:cubicBezTo>
                    <a:pt x="776" y="145"/>
                    <a:pt x="776" y="153"/>
                    <a:pt x="770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8BEC24-46CB-4A40-9980-6CE7CDE6154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48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32746EA-7D64-4DB1-8209-55D0A873B5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32746EA-7D64-4DB1-8209-55D0A873B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B7D06AE-F9FC-9D27-8243-138B4EA41BBD}"/>
              </a:ext>
            </a:extLst>
          </p:cNvPr>
          <p:cNvSpPr/>
          <p:nvPr/>
        </p:nvSpPr>
        <p:spPr>
          <a:xfrm>
            <a:off x="195333" y="1004047"/>
            <a:ext cx="8625385" cy="1850040"/>
          </a:xfrm>
          <a:prstGeom prst="round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1" y="282065"/>
            <a:ext cx="7891317" cy="380810"/>
          </a:xfrm>
        </p:spPr>
        <p:txBody>
          <a:bodyPr vert="horz"/>
          <a:lstStyle/>
          <a:p>
            <a:r>
              <a:rPr lang="en-GB">
                <a:cs typeface="Arial"/>
              </a:rPr>
              <a:t>Dividing large work packag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4934" y="4862185"/>
            <a:ext cx="2052074" cy="273844"/>
          </a:xfrm>
        </p:spPr>
        <p:txBody>
          <a:bodyPr/>
          <a:lstStyle/>
          <a:p>
            <a:fld id="{CE58CB1E-F828-4F11-99E0-327109AF9DA4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B3C75974-E091-4828-8F6D-B2BDDA6D9686}"/>
              </a:ext>
            </a:extLst>
          </p:cNvPr>
          <p:cNvSpPr/>
          <p:nvPr/>
        </p:nvSpPr>
        <p:spPr>
          <a:xfrm>
            <a:off x="198405" y="3024816"/>
            <a:ext cx="8619168" cy="14589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2133">
              <a:solidFill>
                <a:srgbClr val="171717"/>
              </a:solidFill>
              <a:latin typeface="Segoe UI" panose="020B0502040204020203" pitchFamily="34" charset="0"/>
            </a:endParaRPr>
          </a:p>
        </p:txBody>
      </p:sp>
      <p:sp>
        <p:nvSpPr>
          <p:cNvPr id="27" name="TextBox 86">
            <a:extLst>
              <a:ext uri="{FF2B5EF4-FFF2-40B4-BE49-F238E27FC236}">
                <a16:creationId xmlns:a16="http://schemas.microsoft.com/office/drawing/2014/main" id="{928976C1-9FC5-44E9-B2B0-15CC78E9E456}"/>
              </a:ext>
            </a:extLst>
          </p:cNvPr>
          <p:cNvSpPr txBox="1"/>
          <p:nvPr/>
        </p:nvSpPr>
        <p:spPr>
          <a:xfrm>
            <a:off x="243134" y="3115994"/>
            <a:ext cx="2381941" cy="13080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accent1"/>
                </a:solidFill>
                <a:latin typeface="Arial"/>
                <a:cs typeface="Arial"/>
              </a:rPr>
              <a:t>Epic</a:t>
            </a:r>
            <a:endParaRPr lang="en-US" sz="1050" b="1">
              <a:solidFill>
                <a:schemeClr val="accent1"/>
              </a:solidFill>
              <a:latin typeface="Arial"/>
              <a:cs typeface="Arial"/>
            </a:endParaRPr>
          </a:p>
          <a:p>
            <a:endParaRPr lang="en-US" sz="1050" b="1"/>
          </a:p>
          <a:p>
            <a:r>
              <a:rPr lang="en-US" sz="1050" b="1">
                <a:latin typeface="Arial"/>
                <a:cs typeface="Arial"/>
              </a:rPr>
              <a:t>Definition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A large body of work that can be broken down into several smaller stories. 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endParaRPr lang="en-US" sz="1050"/>
          </a:p>
        </p:txBody>
      </p:sp>
      <p:sp>
        <p:nvSpPr>
          <p:cNvPr id="28" name="TextBox 87">
            <a:extLst>
              <a:ext uri="{FF2B5EF4-FFF2-40B4-BE49-F238E27FC236}">
                <a16:creationId xmlns:a16="http://schemas.microsoft.com/office/drawing/2014/main" id="{376DE420-F9F7-4B0C-865A-26942D6FC278}"/>
              </a:ext>
            </a:extLst>
          </p:cNvPr>
          <p:cNvSpPr txBox="1"/>
          <p:nvPr/>
        </p:nvSpPr>
        <p:spPr>
          <a:xfrm>
            <a:off x="3172252" y="3119330"/>
            <a:ext cx="2673014" cy="11464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accent1"/>
                </a:solidFill>
                <a:latin typeface="Arial"/>
                <a:cs typeface="Arial"/>
              </a:rPr>
              <a:t>Story</a:t>
            </a:r>
            <a:endParaRPr lang="en-US" sz="1050" b="1">
              <a:solidFill>
                <a:schemeClr val="accent1"/>
              </a:solidFill>
              <a:latin typeface="Arial"/>
              <a:cs typeface="Arial"/>
            </a:endParaRPr>
          </a:p>
          <a:p>
            <a:endParaRPr lang="en-US" sz="1050" b="1"/>
          </a:p>
          <a:p>
            <a:r>
              <a:rPr lang="en-US" sz="1050" b="1">
                <a:latin typeface="Arial"/>
                <a:cs typeface="Arial"/>
              </a:rPr>
              <a:t>Definition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A feature or functionality from the user’s point of view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smallest unit of product development</a:t>
            </a:r>
          </a:p>
        </p:txBody>
      </p:sp>
      <p:sp>
        <p:nvSpPr>
          <p:cNvPr id="17" name="Rectangle 68">
            <a:extLst>
              <a:ext uri="{FF2B5EF4-FFF2-40B4-BE49-F238E27FC236}">
                <a16:creationId xmlns:a16="http://schemas.microsoft.com/office/drawing/2014/main" id="{213DBDE9-4625-4824-B064-42801E41A694}"/>
              </a:ext>
            </a:extLst>
          </p:cNvPr>
          <p:cNvSpPr/>
          <p:nvPr/>
        </p:nvSpPr>
        <p:spPr>
          <a:xfrm>
            <a:off x="3504665" y="1892441"/>
            <a:ext cx="711245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18" name="Rectangle 69">
            <a:extLst>
              <a:ext uri="{FF2B5EF4-FFF2-40B4-BE49-F238E27FC236}">
                <a16:creationId xmlns:a16="http://schemas.microsoft.com/office/drawing/2014/main" id="{18DD8EEA-BABC-4432-AE23-0E4E306C718F}"/>
              </a:ext>
            </a:extLst>
          </p:cNvPr>
          <p:cNvSpPr/>
          <p:nvPr/>
        </p:nvSpPr>
        <p:spPr>
          <a:xfrm>
            <a:off x="2248043" y="1892441"/>
            <a:ext cx="1162459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19" name="Rectangle 70">
            <a:extLst>
              <a:ext uri="{FF2B5EF4-FFF2-40B4-BE49-F238E27FC236}">
                <a16:creationId xmlns:a16="http://schemas.microsoft.com/office/drawing/2014/main" id="{32780B6F-6643-4BDA-92E1-6A740D670311}"/>
              </a:ext>
            </a:extLst>
          </p:cNvPr>
          <p:cNvSpPr/>
          <p:nvPr/>
        </p:nvSpPr>
        <p:spPr>
          <a:xfrm>
            <a:off x="4369996" y="1892441"/>
            <a:ext cx="540460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20" name="Rectangle 71">
            <a:extLst>
              <a:ext uri="{FF2B5EF4-FFF2-40B4-BE49-F238E27FC236}">
                <a16:creationId xmlns:a16="http://schemas.microsoft.com/office/drawing/2014/main" id="{CFBA2D6B-8EB5-4CDC-B2B0-F38BC846426A}"/>
              </a:ext>
            </a:extLst>
          </p:cNvPr>
          <p:cNvSpPr/>
          <p:nvPr/>
        </p:nvSpPr>
        <p:spPr>
          <a:xfrm>
            <a:off x="5003550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21" name="Rectangle 72">
            <a:extLst>
              <a:ext uri="{FF2B5EF4-FFF2-40B4-BE49-F238E27FC236}">
                <a16:creationId xmlns:a16="http://schemas.microsoft.com/office/drawing/2014/main" id="{E97B4EF3-EC45-4F2D-BC40-2B5CA442F807}"/>
              </a:ext>
            </a:extLst>
          </p:cNvPr>
          <p:cNvSpPr/>
          <p:nvPr/>
        </p:nvSpPr>
        <p:spPr>
          <a:xfrm>
            <a:off x="5480854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29" name="Rectangle 88">
            <a:extLst>
              <a:ext uri="{FF2B5EF4-FFF2-40B4-BE49-F238E27FC236}">
                <a16:creationId xmlns:a16="http://schemas.microsoft.com/office/drawing/2014/main" id="{67F92DD3-4EA0-42BA-B877-C8A1216D9010}"/>
              </a:ext>
            </a:extLst>
          </p:cNvPr>
          <p:cNvSpPr/>
          <p:nvPr/>
        </p:nvSpPr>
        <p:spPr>
          <a:xfrm>
            <a:off x="2246648" y="1462122"/>
            <a:ext cx="1970236" cy="297224"/>
          </a:xfrm>
          <a:prstGeom prst="round2SameRect">
            <a:avLst/>
          </a:prstGeom>
          <a:solidFill>
            <a:srgbClr val="0077D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0" name="Rectangle 89">
            <a:extLst>
              <a:ext uri="{FF2B5EF4-FFF2-40B4-BE49-F238E27FC236}">
                <a16:creationId xmlns:a16="http://schemas.microsoft.com/office/drawing/2014/main" id="{B8C41DB4-C724-4FBB-BD2A-D545C40A629D}"/>
              </a:ext>
            </a:extLst>
          </p:cNvPr>
          <p:cNvSpPr/>
          <p:nvPr/>
        </p:nvSpPr>
        <p:spPr>
          <a:xfrm>
            <a:off x="6495036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1" name="Rectangle 95">
            <a:extLst>
              <a:ext uri="{FF2B5EF4-FFF2-40B4-BE49-F238E27FC236}">
                <a16:creationId xmlns:a16="http://schemas.microsoft.com/office/drawing/2014/main" id="{D4C9691D-226D-4883-BAEC-A3A7B6766FB7}"/>
              </a:ext>
            </a:extLst>
          </p:cNvPr>
          <p:cNvSpPr/>
          <p:nvPr/>
        </p:nvSpPr>
        <p:spPr>
          <a:xfrm>
            <a:off x="6979503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2" name="Rectangle 96">
            <a:extLst>
              <a:ext uri="{FF2B5EF4-FFF2-40B4-BE49-F238E27FC236}">
                <a16:creationId xmlns:a16="http://schemas.microsoft.com/office/drawing/2014/main" id="{F3299B28-F7EB-4761-88D2-E64A372A1B90}"/>
              </a:ext>
            </a:extLst>
          </p:cNvPr>
          <p:cNvSpPr/>
          <p:nvPr/>
        </p:nvSpPr>
        <p:spPr>
          <a:xfrm>
            <a:off x="7455739" y="1892441"/>
            <a:ext cx="1013289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5" name="Rectangle 88">
            <a:extLst>
              <a:ext uri="{FF2B5EF4-FFF2-40B4-BE49-F238E27FC236}">
                <a16:creationId xmlns:a16="http://schemas.microsoft.com/office/drawing/2014/main" id="{473688FD-18C7-4A76-A5EA-60D2CAB25876}"/>
              </a:ext>
            </a:extLst>
          </p:cNvPr>
          <p:cNvSpPr/>
          <p:nvPr/>
        </p:nvSpPr>
        <p:spPr>
          <a:xfrm>
            <a:off x="4369996" y="1462146"/>
            <a:ext cx="1970236" cy="297224"/>
          </a:xfrm>
          <a:prstGeom prst="round2SameRect">
            <a:avLst/>
          </a:prstGeom>
          <a:solidFill>
            <a:srgbClr val="0077D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>
              <a:solidFill>
                <a:schemeClr val="tx1"/>
              </a:solidFill>
            </a:endParaRPr>
          </a:p>
        </p:txBody>
      </p:sp>
      <p:sp>
        <p:nvSpPr>
          <p:cNvPr id="36" name="Rectangle 88">
            <a:extLst>
              <a:ext uri="{FF2B5EF4-FFF2-40B4-BE49-F238E27FC236}">
                <a16:creationId xmlns:a16="http://schemas.microsoft.com/office/drawing/2014/main" id="{7BF7EEBF-5C28-4671-BFE7-8358A5400B62}"/>
              </a:ext>
            </a:extLst>
          </p:cNvPr>
          <p:cNvSpPr/>
          <p:nvPr/>
        </p:nvSpPr>
        <p:spPr>
          <a:xfrm>
            <a:off x="6493343" y="1462170"/>
            <a:ext cx="1970236" cy="297224"/>
          </a:xfrm>
          <a:prstGeom prst="round2SameRect">
            <a:avLst/>
          </a:prstGeom>
          <a:solidFill>
            <a:srgbClr val="0077D0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79625168-6248-43CA-B3E4-F4B33D8E69CE}"/>
              </a:ext>
            </a:extLst>
          </p:cNvPr>
          <p:cNvSpPr/>
          <p:nvPr/>
        </p:nvSpPr>
        <p:spPr>
          <a:xfrm>
            <a:off x="5957090" y="1892441"/>
            <a:ext cx="383141" cy="297224"/>
          </a:xfrm>
          <a:prstGeom prst="rect">
            <a:avLst/>
          </a:prstGeom>
          <a:solidFill>
            <a:srgbClr val="98C6EA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err="1">
              <a:solidFill>
                <a:schemeClr val="tx1"/>
              </a:solidFill>
            </a:endParaRPr>
          </a:p>
        </p:txBody>
      </p:sp>
      <p:sp>
        <p:nvSpPr>
          <p:cNvPr id="41" name="TextBox 87">
            <a:extLst>
              <a:ext uri="{FF2B5EF4-FFF2-40B4-BE49-F238E27FC236}">
                <a16:creationId xmlns:a16="http://schemas.microsoft.com/office/drawing/2014/main" id="{2E99D45E-8AF0-4B05-8CFF-2CE77C7BA3D6}"/>
              </a:ext>
            </a:extLst>
          </p:cNvPr>
          <p:cNvSpPr txBox="1"/>
          <p:nvPr/>
        </p:nvSpPr>
        <p:spPr>
          <a:xfrm>
            <a:off x="6144019" y="3119330"/>
            <a:ext cx="2681543" cy="11464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accent1"/>
                </a:solidFill>
                <a:latin typeface="Arial"/>
                <a:cs typeface="Arial"/>
              </a:rPr>
              <a:t>Task</a:t>
            </a:r>
            <a:endParaRPr lang="en-US" sz="1000" b="1">
              <a:solidFill>
                <a:schemeClr val="accent1"/>
              </a:solidFill>
              <a:latin typeface="Arial"/>
              <a:cs typeface="Arial"/>
            </a:endParaRPr>
          </a:p>
          <a:p>
            <a:endParaRPr lang="en-US" sz="1050" b="1"/>
          </a:p>
          <a:p>
            <a:r>
              <a:rPr lang="en-US" sz="1050" b="1">
                <a:latin typeface="Arial"/>
                <a:cs typeface="Arial"/>
              </a:rPr>
              <a:t>Definition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Smallest piece of work to be tracked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sz="1050">
                <a:latin typeface="Arial"/>
                <a:cs typeface="Arial"/>
              </a:rPr>
              <a:t>Breaks the work of a Story further down.</a:t>
            </a:r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69234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feil: Chevron 4">
            <a:extLst>
              <a:ext uri="{FF2B5EF4-FFF2-40B4-BE49-F238E27FC236}">
                <a16:creationId xmlns:a16="http://schemas.microsoft.com/office/drawing/2014/main" id="{D4F0FA99-6796-1AA5-4150-8A4302781366}"/>
              </a:ext>
            </a:extLst>
          </p:cNvPr>
          <p:cNvSpPr/>
          <p:nvPr/>
        </p:nvSpPr>
        <p:spPr>
          <a:xfrm>
            <a:off x="2595730" y="3490146"/>
            <a:ext cx="327141" cy="522978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tx1"/>
              </a:solidFill>
            </a:endParaRPr>
          </a:p>
        </p:txBody>
      </p:sp>
      <p:sp>
        <p:nvSpPr>
          <p:cNvPr id="43" name="Pfeil: Chevron 42">
            <a:extLst>
              <a:ext uri="{FF2B5EF4-FFF2-40B4-BE49-F238E27FC236}">
                <a16:creationId xmlns:a16="http://schemas.microsoft.com/office/drawing/2014/main" id="{EB335A96-7625-A43B-E74F-2C305F3B40F1}"/>
              </a:ext>
            </a:extLst>
          </p:cNvPr>
          <p:cNvSpPr/>
          <p:nvPr/>
        </p:nvSpPr>
        <p:spPr>
          <a:xfrm>
            <a:off x="5737553" y="3490146"/>
            <a:ext cx="327141" cy="522978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0507D48-8C87-FD51-334D-53DAA6B2CBAC}"/>
              </a:ext>
            </a:extLst>
          </p:cNvPr>
          <p:cNvSpPr txBox="1"/>
          <p:nvPr/>
        </p:nvSpPr>
        <p:spPr>
          <a:xfrm>
            <a:off x="2717010" y="1093655"/>
            <a:ext cx="3442648" cy="25725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4000"/>
              </a:lnSpc>
            </a:pPr>
            <a:r>
              <a:rPr lang="en-GB" sz="1600">
                <a:latin typeface="+mn-lt"/>
                <a:cs typeface="Arial"/>
              </a:rPr>
              <a:t>Applied Machine Intelligence Project</a:t>
            </a:r>
          </a:p>
        </p:txBody>
      </p:sp>
      <p:pic>
        <p:nvPicPr>
          <p:cNvPr id="11" name="Grafik 12" descr="Krone">
            <a:extLst>
              <a:ext uri="{FF2B5EF4-FFF2-40B4-BE49-F238E27FC236}">
                <a16:creationId xmlns:a16="http://schemas.microsoft.com/office/drawing/2014/main" id="{DEAD4403-DB8A-4FBA-81DA-01758FCEEE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5336" y="1434494"/>
            <a:ext cx="299351" cy="305996"/>
          </a:xfrm>
          <a:prstGeom prst="rect">
            <a:avLst/>
          </a:prstGeom>
        </p:spPr>
      </p:pic>
      <p:pic>
        <p:nvPicPr>
          <p:cNvPr id="23" name="Grafik 25" descr="Trophäe">
            <a:extLst>
              <a:ext uri="{FF2B5EF4-FFF2-40B4-BE49-F238E27FC236}">
                <a16:creationId xmlns:a16="http://schemas.microsoft.com/office/drawing/2014/main" id="{F6423C1A-7749-4EA2-880C-E4B2CF74A4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9724" y="1896327"/>
            <a:ext cx="280886" cy="274241"/>
          </a:xfrm>
          <a:prstGeom prst="rect">
            <a:avLst/>
          </a:prstGeom>
        </p:spPr>
      </p:pic>
      <p:sp>
        <p:nvSpPr>
          <p:cNvPr id="10" name="TextBox 47">
            <a:extLst>
              <a:ext uri="{FF2B5EF4-FFF2-40B4-BE49-F238E27FC236}">
                <a16:creationId xmlns:a16="http://schemas.microsoft.com/office/drawing/2014/main" id="{DF277327-4045-4EA1-A918-F580CDE8336C}"/>
              </a:ext>
            </a:extLst>
          </p:cNvPr>
          <p:cNvSpPr txBox="1"/>
          <p:nvPr/>
        </p:nvSpPr>
        <p:spPr>
          <a:xfrm>
            <a:off x="1123881" y="1463923"/>
            <a:ext cx="1422753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67">
                <a:solidFill>
                  <a:schemeClr val="tx1">
                    <a:lumMod val="75000"/>
                    <a:lumOff val="25000"/>
                  </a:schemeClr>
                </a:solidFill>
              </a:rPr>
              <a:t>Epics</a:t>
            </a:r>
          </a:p>
        </p:txBody>
      </p:sp>
      <p:sp>
        <p:nvSpPr>
          <p:cNvPr id="24" name="TextBox 76">
            <a:extLst>
              <a:ext uri="{FF2B5EF4-FFF2-40B4-BE49-F238E27FC236}">
                <a16:creationId xmlns:a16="http://schemas.microsoft.com/office/drawing/2014/main" id="{F290C787-B10E-4A8C-BDA8-19CE0DE5B23D}"/>
              </a:ext>
            </a:extLst>
          </p:cNvPr>
          <p:cNvSpPr txBox="1"/>
          <p:nvPr/>
        </p:nvSpPr>
        <p:spPr>
          <a:xfrm>
            <a:off x="1123881" y="1870726"/>
            <a:ext cx="165947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67">
                <a:solidFill>
                  <a:schemeClr val="tx1">
                    <a:lumMod val="75000"/>
                    <a:lumOff val="25000"/>
                  </a:schemeClr>
                </a:solidFill>
              </a:rPr>
              <a:t>Stories</a:t>
            </a:r>
          </a:p>
        </p:txBody>
      </p:sp>
      <p:sp>
        <p:nvSpPr>
          <p:cNvPr id="48" name="Rectangle 69">
            <a:extLst>
              <a:ext uri="{FF2B5EF4-FFF2-40B4-BE49-F238E27FC236}">
                <a16:creationId xmlns:a16="http://schemas.microsoft.com/office/drawing/2014/main" id="{186BA4C9-5414-71D2-8DE1-FF762360E96B}"/>
              </a:ext>
            </a:extLst>
          </p:cNvPr>
          <p:cNvSpPr/>
          <p:nvPr/>
        </p:nvSpPr>
        <p:spPr>
          <a:xfrm rot="10800000">
            <a:off x="2246647" y="2326759"/>
            <a:ext cx="172997" cy="297224"/>
          </a:xfrm>
          <a:prstGeom prst="round1Rect">
            <a:avLst>
              <a:gd name="adj" fmla="val 29000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49" name="Rectangle 69">
            <a:extLst>
              <a:ext uri="{FF2B5EF4-FFF2-40B4-BE49-F238E27FC236}">
                <a16:creationId xmlns:a16="http://schemas.microsoft.com/office/drawing/2014/main" id="{96C93B38-7EF5-1ACA-6554-F7CE57D19FF8}"/>
              </a:ext>
            </a:extLst>
          </p:cNvPr>
          <p:cNvSpPr/>
          <p:nvPr/>
        </p:nvSpPr>
        <p:spPr>
          <a:xfrm>
            <a:off x="2468423" y="2326759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0" name="Rectangle 69">
            <a:extLst>
              <a:ext uri="{FF2B5EF4-FFF2-40B4-BE49-F238E27FC236}">
                <a16:creationId xmlns:a16="http://schemas.microsoft.com/office/drawing/2014/main" id="{DF3DC587-DC4C-7252-7522-E79D55502EE6}"/>
              </a:ext>
            </a:extLst>
          </p:cNvPr>
          <p:cNvSpPr/>
          <p:nvPr/>
        </p:nvSpPr>
        <p:spPr>
          <a:xfrm>
            <a:off x="2700448" y="2326758"/>
            <a:ext cx="179808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1" name="Rectangle 69">
            <a:extLst>
              <a:ext uri="{FF2B5EF4-FFF2-40B4-BE49-F238E27FC236}">
                <a16:creationId xmlns:a16="http://schemas.microsoft.com/office/drawing/2014/main" id="{3D486A2B-4A36-4D84-127F-E6085C320FF3}"/>
              </a:ext>
            </a:extLst>
          </p:cNvPr>
          <p:cNvSpPr/>
          <p:nvPr/>
        </p:nvSpPr>
        <p:spPr>
          <a:xfrm>
            <a:off x="2946094" y="2326759"/>
            <a:ext cx="210512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2" name="Rectangle 69">
            <a:extLst>
              <a:ext uri="{FF2B5EF4-FFF2-40B4-BE49-F238E27FC236}">
                <a16:creationId xmlns:a16="http://schemas.microsoft.com/office/drawing/2014/main" id="{14033245-16F5-802F-A702-E00A34044B63}"/>
              </a:ext>
            </a:extLst>
          </p:cNvPr>
          <p:cNvSpPr/>
          <p:nvPr/>
        </p:nvSpPr>
        <p:spPr>
          <a:xfrm>
            <a:off x="3227579" y="2326758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3" name="Rectangle 69">
            <a:extLst>
              <a:ext uri="{FF2B5EF4-FFF2-40B4-BE49-F238E27FC236}">
                <a16:creationId xmlns:a16="http://schemas.microsoft.com/office/drawing/2014/main" id="{A2C81E79-436B-6964-8095-6B97783BD2A8}"/>
              </a:ext>
            </a:extLst>
          </p:cNvPr>
          <p:cNvSpPr/>
          <p:nvPr/>
        </p:nvSpPr>
        <p:spPr>
          <a:xfrm>
            <a:off x="3500535" y="2326759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7" name="Rectangle 69">
            <a:extLst>
              <a:ext uri="{FF2B5EF4-FFF2-40B4-BE49-F238E27FC236}">
                <a16:creationId xmlns:a16="http://schemas.microsoft.com/office/drawing/2014/main" id="{A7919ACD-AE72-3234-B4F3-B79F79CC7BB5}"/>
              </a:ext>
            </a:extLst>
          </p:cNvPr>
          <p:cNvSpPr/>
          <p:nvPr/>
        </p:nvSpPr>
        <p:spPr>
          <a:xfrm>
            <a:off x="3742765" y="2326758"/>
            <a:ext cx="22724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8" name="Rectangle 69">
            <a:extLst>
              <a:ext uri="{FF2B5EF4-FFF2-40B4-BE49-F238E27FC236}">
                <a16:creationId xmlns:a16="http://schemas.microsoft.com/office/drawing/2014/main" id="{D36F71D0-72E3-3F26-E420-BD392EF66E3E}"/>
              </a:ext>
            </a:extLst>
          </p:cNvPr>
          <p:cNvSpPr/>
          <p:nvPr/>
        </p:nvSpPr>
        <p:spPr>
          <a:xfrm rot="10800000" flipH="1">
            <a:off x="4029386" y="2326759"/>
            <a:ext cx="172997" cy="297224"/>
          </a:xfrm>
          <a:prstGeom prst="round1Rect">
            <a:avLst>
              <a:gd name="adj" fmla="val 34286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59" name="Rectangle 69">
            <a:extLst>
              <a:ext uri="{FF2B5EF4-FFF2-40B4-BE49-F238E27FC236}">
                <a16:creationId xmlns:a16="http://schemas.microsoft.com/office/drawing/2014/main" id="{E060D507-11BC-9A93-C334-DC2548455264}"/>
              </a:ext>
            </a:extLst>
          </p:cNvPr>
          <p:cNvSpPr/>
          <p:nvPr/>
        </p:nvSpPr>
        <p:spPr>
          <a:xfrm rot="10800000">
            <a:off x="4370579" y="2326758"/>
            <a:ext cx="172997" cy="297224"/>
          </a:xfrm>
          <a:prstGeom prst="round1Rect">
            <a:avLst>
              <a:gd name="adj" fmla="val 32524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0" name="Rectangle 69">
            <a:extLst>
              <a:ext uri="{FF2B5EF4-FFF2-40B4-BE49-F238E27FC236}">
                <a16:creationId xmlns:a16="http://schemas.microsoft.com/office/drawing/2014/main" id="{5BE22C73-78F5-EA4D-8EB3-4FA1275F9D47}"/>
              </a:ext>
            </a:extLst>
          </p:cNvPr>
          <p:cNvSpPr/>
          <p:nvPr/>
        </p:nvSpPr>
        <p:spPr>
          <a:xfrm>
            <a:off x="4611820" y="2326326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1" name="Rectangle 69">
            <a:extLst>
              <a:ext uri="{FF2B5EF4-FFF2-40B4-BE49-F238E27FC236}">
                <a16:creationId xmlns:a16="http://schemas.microsoft.com/office/drawing/2014/main" id="{7E754F67-EE16-6B6C-7096-EE0709173E8F}"/>
              </a:ext>
            </a:extLst>
          </p:cNvPr>
          <p:cNvSpPr/>
          <p:nvPr/>
        </p:nvSpPr>
        <p:spPr>
          <a:xfrm>
            <a:off x="4850651" y="2326758"/>
            <a:ext cx="57649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2" name="Rectangle 69">
            <a:extLst>
              <a:ext uri="{FF2B5EF4-FFF2-40B4-BE49-F238E27FC236}">
                <a16:creationId xmlns:a16="http://schemas.microsoft.com/office/drawing/2014/main" id="{0A015BE8-D96A-0368-60D7-31246B9CA886}"/>
              </a:ext>
            </a:extLst>
          </p:cNvPr>
          <p:cNvSpPr/>
          <p:nvPr/>
        </p:nvSpPr>
        <p:spPr>
          <a:xfrm>
            <a:off x="5009631" y="2326759"/>
            <a:ext cx="137501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3" name="Rectangle 69">
            <a:extLst>
              <a:ext uri="{FF2B5EF4-FFF2-40B4-BE49-F238E27FC236}">
                <a16:creationId xmlns:a16="http://schemas.microsoft.com/office/drawing/2014/main" id="{760C6FB6-8331-9CE0-3F8B-B69AA22BEE90}"/>
              </a:ext>
            </a:extLst>
          </p:cNvPr>
          <p:cNvSpPr/>
          <p:nvPr/>
        </p:nvSpPr>
        <p:spPr>
          <a:xfrm>
            <a:off x="5206505" y="2326758"/>
            <a:ext cx="180186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4" name="Rectangle 69">
            <a:extLst>
              <a:ext uri="{FF2B5EF4-FFF2-40B4-BE49-F238E27FC236}">
                <a16:creationId xmlns:a16="http://schemas.microsoft.com/office/drawing/2014/main" id="{0EC02CA4-95ED-9C7A-9811-2D012F86BA26}"/>
              </a:ext>
            </a:extLst>
          </p:cNvPr>
          <p:cNvSpPr/>
          <p:nvPr/>
        </p:nvSpPr>
        <p:spPr>
          <a:xfrm>
            <a:off x="5479459" y="2326759"/>
            <a:ext cx="151329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5" name="Rectangle 69">
            <a:extLst>
              <a:ext uri="{FF2B5EF4-FFF2-40B4-BE49-F238E27FC236}">
                <a16:creationId xmlns:a16="http://schemas.microsoft.com/office/drawing/2014/main" id="{5AE23A79-10E5-200C-940B-0F4BCA27E660}"/>
              </a:ext>
            </a:extLst>
          </p:cNvPr>
          <p:cNvSpPr/>
          <p:nvPr/>
        </p:nvSpPr>
        <p:spPr>
          <a:xfrm>
            <a:off x="5684177" y="2326759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6" name="Rectangle 69">
            <a:extLst>
              <a:ext uri="{FF2B5EF4-FFF2-40B4-BE49-F238E27FC236}">
                <a16:creationId xmlns:a16="http://schemas.microsoft.com/office/drawing/2014/main" id="{6EB88155-7826-85D3-F880-727449FF3A1F}"/>
              </a:ext>
            </a:extLst>
          </p:cNvPr>
          <p:cNvSpPr/>
          <p:nvPr/>
        </p:nvSpPr>
        <p:spPr>
          <a:xfrm>
            <a:off x="5961053" y="2326758"/>
            <a:ext cx="145343" cy="301832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7" name="Rectangle 69">
            <a:extLst>
              <a:ext uri="{FF2B5EF4-FFF2-40B4-BE49-F238E27FC236}">
                <a16:creationId xmlns:a16="http://schemas.microsoft.com/office/drawing/2014/main" id="{A5E98CC3-8880-1DF9-5635-CA1E54D6E1FC}"/>
              </a:ext>
            </a:extLst>
          </p:cNvPr>
          <p:cNvSpPr/>
          <p:nvPr/>
        </p:nvSpPr>
        <p:spPr>
          <a:xfrm rot="10800000" flipH="1">
            <a:off x="6167234" y="2326326"/>
            <a:ext cx="172997" cy="297224"/>
          </a:xfrm>
          <a:prstGeom prst="round1Rect">
            <a:avLst>
              <a:gd name="adj" fmla="val 27238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8" name="Rectangle 69">
            <a:extLst>
              <a:ext uri="{FF2B5EF4-FFF2-40B4-BE49-F238E27FC236}">
                <a16:creationId xmlns:a16="http://schemas.microsoft.com/office/drawing/2014/main" id="{39480B07-C5D1-A8DF-84D0-EBBA2A64D872}"/>
              </a:ext>
            </a:extLst>
          </p:cNvPr>
          <p:cNvSpPr/>
          <p:nvPr/>
        </p:nvSpPr>
        <p:spPr>
          <a:xfrm rot="10800000">
            <a:off x="6494512" y="2326758"/>
            <a:ext cx="140735" cy="301832"/>
          </a:xfrm>
          <a:prstGeom prst="round1Rect">
            <a:avLst>
              <a:gd name="adj" fmla="val 33993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69" name="Rectangle 69">
            <a:extLst>
              <a:ext uri="{FF2B5EF4-FFF2-40B4-BE49-F238E27FC236}">
                <a16:creationId xmlns:a16="http://schemas.microsoft.com/office/drawing/2014/main" id="{FA3EE49C-EF1F-5A0E-E9A3-128BFC8EFF5D}"/>
              </a:ext>
            </a:extLst>
          </p:cNvPr>
          <p:cNvSpPr/>
          <p:nvPr/>
        </p:nvSpPr>
        <p:spPr>
          <a:xfrm>
            <a:off x="6690699" y="2326759"/>
            <a:ext cx="185978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18224FE-EC0D-FE48-BC9F-D5CA364EC7BF}"/>
              </a:ext>
            </a:extLst>
          </p:cNvPr>
          <p:cNvSpPr/>
          <p:nvPr/>
        </p:nvSpPr>
        <p:spPr>
          <a:xfrm>
            <a:off x="6980161" y="2325600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1" name="Rectangle 69">
            <a:extLst>
              <a:ext uri="{FF2B5EF4-FFF2-40B4-BE49-F238E27FC236}">
                <a16:creationId xmlns:a16="http://schemas.microsoft.com/office/drawing/2014/main" id="{A03F9003-5C2D-2001-9B67-31B6C1165A07}"/>
              </a:ext>
            </a:extLst>
          </p:cNvPr>
          <p:cNvSpPr/>
          <p:nvPr/>
        </p:nvSpPr>
        <p:spPr>
          <a:xfrm>
            <a:off x="7206201" y="2325600"/>
            <a:ext cx="152392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2" name="Rectangle 69">
            <a:extLst>
              <a:ext uri="{FF2B5EF4-FFF2-40B4-BE49-F238E27FC236}">
                <a16:creationId xmlns:a16="http://schemas.microsoft.com/office/drawing/2014/main" id="{1D8DD2A7-F242-C04E-09B1-2377943DB9BD}"/>
              </a:ext>
            </a:extLst>
          </p:cNvPr>
          <p:cNvSpPr/>
          <p:nvPr/>
        </p:nvSpPr>
        <p:spPr>
          <a:xfrm>
            <a:off x="7452319" y="2325600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3" name="Rectangle 69">
            <a:extLst>
              <a:ext uri="{FF2B5EF4-FFF2-40B4-BE49-F238E27FC236}">
                <a16:creationId xmlns:a16="http://schemas.microsoft.com/office/drawing/2014/main" id="{11B72764-2F44-FA56-F3A3-617BD3B04EDB}"/>
              </a:ext>
            </a:extLst>
          </p:cNvPr>
          <p:cNvSpPr/>
          <p:nvPr/>
        </p:nvSpPr>
        <p:spPr>
          <a:xfrm>
            <a:off x="7678408" y="2325600"/>
            <a:ext cx="217398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4" name="Rectangle 69">
            <a:extLst>
              <a:ext uri="{FF2B5EF4-FFF2-40B4-BE49-F238E27FC236}">
                <a16:creationId xmlns:a16="http://schemas.microsoft.com/office/drawing/2014/main" id="{D77D8D3E-6549-116B-AA0B-00CD52F41D0B}"/>
              </a:ext>
            </a:extLst>
          </p:cNvPr>
          <p:cNvSpPr/>
          <p:nvPr/>
        </p:nvSpPr>
        <p:spPr>
          <a:xfrm>
            <a:off x="7961646" y="2326758"/>
            <a:ext cx="172997" cy="297224"/>
          </a:xfrm>
          <a:prstGeom prst="rect">
            <a:avLst/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sp>
        <p:nvSpPr>
          <p:cNvPr id="75" name="Rectangle 69">
            <a:extLst>
              <a:ext uri="{FF2B5EF4-FFF2-40B4-BE49-F238E27FC236}">
                <a16:creationId xmlns:a16="http://schemas.microsoft.com/office/drawing/2014/main" id="{0BE1396D-71A0-34F5-E915-0DCAC1DCDE39}"/>
              </a:ext>
            </a:extLst>
          </p:cNvPr>
          <p:cNvSpPr/>
          <p:nvPr/>
        </p:nvSpPr>
        <p:spPr>
          <a:xfrm rot="10800000" flipH="1">
            <a:off x="8191139" y="2326759"/>
            <a:ext cx="272440" cy="297224"/>
          </a:xfrm>
          <a:prstGeom prst="round1Rect">
            <a:avLst>
              <a:gd name="adj" fmla="val 30092"/>
            </a:avLst>
          </a:prstGeom>
          <a:solidFill>
            <a:srgbClr val="D5EDFF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50">
              <a:solidFill>
                <a:schemeClr val="tx1"/>
              </a:solidFill>
              <a:cs typeface="Arial"/>
            </a:endParaRPr>
          </a:p>
        </p:txBody>
      </p:sp>
      <p:pic>
        <p:nvPicPr>
          <p:cNvPr id="2" name="Grafik 5" descr="Prüfliste mit einfarbiger Füllung">
            <a:extLst>
              <a:ext uri="{FF2B5EF4-FFF2-40B4-BE49-F238E27FC236}">
                <a16:creationId xmlns:a16="http://schemas.microsoft.com/office/drawing/2014/main" id="{5F894B9C-3C6F-5E4F-AA91-39A8D57B819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2671" y="2327796"/>
            <a:ext cx="318044" cy="292820"/>
          </a:xfrm>
          <a:prstGeom prst="rect">
            <a:avLst/>
          </a:prstGeom>
        </p:spPr>
      </p:pic>
      <p:sp>
        <p:nvSpPr>
          <p:cNvPr id="76" name="TextBox 76">
            <a:extLst>
              <a:ext uri="{FF2B5EF4-FFF2-40B4-BE49-F238E27FC236}">
                <a16:creationId xmlns:a16="http://schemas.microsoft.com/office/drawing/2014/main" id="{88A0EBCD-9903-1418-E0B5-931174F534CC}"/>
              </a:ext>
            </a:extLst>
          </p:cNvPr>
          <p:cNvSpPr txBox="1"/>
          <p:nvPr/>
        </p:nvSpPr>
        <p:spPr>
          <a:xfrm>
            <a:off x="1123881" y="2322807"/>
            <a:ext cx="762821" cy="3181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5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Tasks</a:t>
            </a:r>
            <a:endParaRPr lang="en-US" sz="1467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7B9F847-5A62-7EA3-4CC2-988D58C328D4}"/>
              </a:ext>
            </a:extLst>
          </p:cNvPr>
          <p:cNvSpPr txBox="1"/>
          <p:nvPr/>
        </p:nvSpPr>
        <p:spPr>
          <a:xfrm>
            <a:off x="345724" y="662895"/>
            <a:ext cx="327727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>
                <a:latin typeface="+mn-lt"/>
              </a:rPr>
              <a:t>Tracking Progress using JIRA Software</a:t>
            </a:r>
            <a:endParaRPr lang="en-US" sz="1600">
              <a:latin typeface="+mn-lt"/>
            </a:endParaRPr>
          </a:p>
        </p:txBody>
      </p:sp>
      <p:pic>
        <p:nvPicPr>
          <p:cNvPr id="77" name="Picture 4" descr="Jira Logo - Logo, zeichen, emblem, symbol. Geschichte und Bedeutung">
            <a:extLst>
              <a:ext uri="{FF2B5EF4-FFF2-40B4-BE49-F238E27FC236}">
                <a16:creationId xmlns:a16="http://schemas.microsoft.com/office/drawing/2014/main" id="{70A347A1-5634-509D-EDEE-0DBE6001C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914" y="223606"/>
            <a:ext cx="742301" cy="417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NavigationTriangle">
            <a:extLst>
              <a:ext uri="{FF2B5EF4-FFF2-40B4-BE49-F238E27FC236}">
                <a16:creationId xmlns:a16="http://schemas.microsoft.com/office/drawing/2014/main" id="{808F65C8-7454-4312-8B78-A264D663CF77}"/>
              </a:ext>
            </a:extLst>
          </p:cNvPr>
          <p:cNvSpPr/>
          <p:nvPr/>
        </p:nvSpPr>
        <p:spPr>
          <a:xfrm rot="16200000">
            <a:off x="8066766" y="-2144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91EE2EC3-2977-4CBA-BD70-F2EA72BD9D6C}"/>
              </a:ext>
            </a:extLst>
          </p:cNvPr>
          <p:cNvGrpSpPr>
            <a:grpSpLocks noChangeAspect="1"/>
          </p:cNvGrpSpPr>
          <p:nvPr/>
        </p:nvGrpSpPr>
        <p:grpSpPr>
          <a:xfrm>
            <a:off x="8611619" y="76851"/>
            <a:ext cx="457200" cy="457200"/>
            <a:chOff x="7324950" y="3200401"/>
            <a:chExt cx="457200" cy="457200"/>
          </a:xfrm>
        </p:grpSpPr>
        <p:sp>
          <p:nvSpPr>
            <p:cNvPr id="80" name="AutoShape 17">
              <a:extLst>
                <a:ext uri="{FF2B5EF4-FFF2-40B4-BE49-F238E27FC236}">
                  <a16:creationId xmlns:a16="http://schemas.microsoft.com/office/drawing/2014/main" id="{6C9C4CA9-61BB-407B-B72C-081314FE60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id="{F0F4C056-4E99-45CC-95FA-8EB50C1D39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7" y="3230227"/>
              <a:ext cx="402167" cy="398126"/>
            </a:xfrm>
            <a:custGeom>
              <a:avLst/>
              <a:gdLst>
                <a:gd name="T0" fmla="*/ 879 w 879"/>
                <a:gd name="T1" fmla="*/ 273 h 870"/>
                <a:gd name="T2" fmla="*/ 606 w 879"/>
                <a:gd name="T3" fmla="*/ 0 h 870"/>
                <a:gd name="T4" fmla="*/ 333 w 879"/>
                <a:gd name="T5" fmla="*/ 273 h 870"/>
                <a:gd name="T6" fmla="*/ 334 w 879"/>
                <a:gd name="T7" fmla="*/ 296 h 870"/>
                <a:gd name="T8" fmla="*/ 312 w 879"/>
                <a:gd name="T9" fmla="*/ 296 h 870"/>
                <a:gd name="T10" fmla="*/ 292 w 879"/>
                <a:gd name="T11" fmla="*/ 296 h 870"/>
                <a:gd name="T12" fmla="*/ 253 w 879"/>
                <a:gd name="T13" fmla="*/ 261 h 870"/>
                <a:gd name="T14" fmla="*/ 190 w 879"/>
                <a:gd name="T15" fmla="*/ 280 h 870"/>
                <a:gd name="T16" fmla="*/ 131 w 879"/>
                <a:gd name="T17" fmla="*/ 313 h 870"/>
                <a:gd name="T18" fmla="*/ 131 w 879"/>
                <a:gd name="T19" fmla="*/ 366 h 870"/>
                <a:gd name="T20" fmla="*/ 70 w 879"/>
                <a:gd name="T21" fmla="*/ 447 h 870"/>
                <a:gd name="T22" fmla="*/ 22 w 879"/>
                <a:gd name="T23" fmla="*/ 462 h 870"/>
                <a:gd name="T24" fmla="*/ 3 w 879"/>
                <a:gd name="T25" fmla="*/ 593 h 870"/>
                <a:gd name="T26" fmla="*/ 48 w 879"/>
                <a:gd name="T27" fmla="*/ 619 h 870"/>
                <a:gd name="T28" fmla="*/ 66 w 879"/>
                <a:gd name="T29" fmla="*/ 672 h 870"/>
                <a:gd name="T30" fmla="*/ 90 w 879"/>
                <a:gd name="T31" fmla="*/ 718 h 870"/>
                <a:gd name="T32" fmla="*/ 78 w 879"/>
                <a:gd name="T33" fmla="*/ 768 h 870"/>
                <a:gd name="T34" fmla="*/ 181 w 879"/>
                <a:gd name="T35" fmla="*/ 847 h 870"/>
                <a:gd name="T36" fmla="*/ 225 w 879"/>
                <a:gd name="T37" fmla="*/ 820 h 870"/>
                <a:gd name="T38" fmla="*/ 315 w 879"/>
                <a:gd name="T39" fmla="*/ 836 h 870"/>
                <a:gd name="T40" fmla="*/ 336 w 879"/>
                <a:gd name="T41" fmla="*/ 834 h 870"/>
                <a:gd name="T42" fmla="*/ 375 w 879"/>
                <a:gd name="T43" fmla="*/ 870 h 870"/>
                <a:gd name="T44" fmla="*/ 435 w 879"/>
                <a:gd name="T45" fmla="*/ 851 h 870"/>
                <a:gd name="T46" fmla="*/ 491 w 879"/>
                <a:gd name="T47" fmla="*/ 819 h 870"/>
                <a:gd name="T48" fmla="*/ 491 w 879"/>
                <a:gd name="T49" fmla="*/ 768 h 870"/>
                <a:gd name="T50" fmla="*/ 558 w 879"/>
                <a:gd name="T51" fmla="*/ 677 h 870"/>
                <a:gd name="T52" fmla="*/ 606 w 879"/>
                <a:gd name="T53" fmla="*/ 662 h 870"/>
                <a:gd name="T54" fmla="*/ 622 w 879"/>
                <a:gd name="T55" fmla="*/ 548 h 870"/>
                <a:gd name="T56" fmla="*/ 622 w 879"/>
                <a:gd name="T57" fmla="*/ 546 h 870"/>
                <a:gd name="T58" fmla="*/ 879 w 879"/>
                <a:gd name="T59" fmla="*/ 273 h 870"/>
                <a:gd name="T60" fmla="*/ 367 w 879"/>
                <a:gd name="T61" fmla="*/ 690 h 870"/>
                <a:gd name="T62" fmla="*/ 313 w 879"/>
                <a:gd name="T63" fmla="*/ 702 h 870"/>
                <a:gd name="T64" fmla="*/ 189 w 879"/>
                <a:gd name="T65" fmla="*/ 619 h 870"/>
                <a:gd name="T66" fmla="*/ 259 w 879"/>
                <a:gd name="T67" fmla="*/ 442 h 870"/>
                <a:gd name="T68" fmla="*/ 311 w 879"/>
                <a:gd name="T69" fmla="*/ 430 h 870"/>
                <a:gd name="T70" fmla="*/ 436 w 879"/>
                <a:gd name="T71" fmla="*/ 512 h 870"/>
                <a:gd name="T72" fmla="*/ 367 w 879"/>
                <a:gd name="T73" fmla="*/ 690 h 870"/>
                <a:gd name="T74" fmla="*/ 770 w 879"/>
                <a:gd name="T75" fmla="*/ 157 h 870"/>
                <a:gd name="T76" fmla="*/ 636 w 879"/>
                <a:gd name="T77" fmla="*/ 273 h 870"/>
                <a:gd name="T78" fmla="*/ 636 w 879"/>
                <a:gd name="T79" fmla="*/ 274 h 870"/>
                <a:gd name="T80" fmla="*/ 606 w 879"/>
                <a:gd name="T81" fmla="*/ 303 h 870"/>
                <a:gd name="T82" fmla="*/ 576 w 879"/>
                <a:gd name="T83" fmla="*/ 275 h 870"/>
                <a:gd name="T84" fmla="*/ 484 w 879"/>
                <a:gd name="T85" fmla="*/ 210 h 870"/>
                <a:gd name="T86" fmla="*/ 481 w 879"/>
                <a:gd name="T87" fmla="*/ 195 h 870"/>
                <a:gd name="T88" fmla="*/ 496 w 879"/>
                <a:gd name="T89" fmla="*/ 191 h 870"/>
                <a:gd name="T90" fmla="*/ 595 w 879"/>
                <a:gd name="T91" fmla="*/ 246 h 870"/>
                <a:gd name="T92" fmla="*/ 606 w 879"/>
                <a:gd name="T93" fmla="*/ 244 h 870"/>
                <a:gd name="T94" fmla="*/ 613 w 879"/>
                <a:gd name="T95" fmla="*/ 245 h 870"/>
                <a:gd name="T96" fmla="*/ 756 w 879"/>
                <a:gd name="T97" fmla="*/ 138 h 870"/>
                <a:gd name="T98" fmla="*/ 764 w 879"/>
                <a:gd name="T99" fmla="*/ 136 h 870"/>
                <a:gd name="T100" fmla="*/ 772 w 879"/>
                <a:gd name="T101" fmla="*/ 140 h 870"/>
                <a:gd name="T102" fmla="*/ 770 w 879"/>
                <a:gd name="T103" fmla="*/ 157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79" h="870">
                  <a:moveTo>
                    <a:pt x="879" y="273"/>
                  </a:moveTo>
                  <a:cubicBezTo>
                    <a:pt x="879" y="122"/>
                    <a:pt x="757" y="0"/>
                    <a:pt x="606" y="0"/>
                  </a:cubicBezTo>
                  <a:cubicBezTo>
                    <a:pt x="455" y="0"/>
                    <a:pt x="333" y="122"/>
                    <a:pt x="333" y="273"/>
                  </a:cubicBezTo>
                  <a:cubicBezTo>
                    <a:pt x="333" y="281"/>
                    <a:pt x="333" y="289"/>
                    <a:pt x="334" y="296"/>
                  </a:cubicBezTo>
                  <a:cubicBezTo>
                    <a:pt x="326" y="296"/>
                    <a:pt x="319" y="296"/>
                    <a:pt x="312" y="296"/>
                  </a:cubicBezTo>
                  <a:cubicBezTo>
                    <a:pt x="305" y="296"/>
                    <a:pt x="299" y="296"/>
                    <a:pt x="292" y="296"/>
                  </a:cubicBezTo>
                  <a:cubicBezTo>
                    <a:pt x="253" y="261"/>
                    <a:pt x="253" y="261"/>
                    <a:pt x="253" y="261"/>
                  </a:cubicBezTo>
                  <a:cubicBezTo>
                    <a:pt x="233" y="266"/>
                    <a:pt x="211" y="271"/>
                    <a:pt x="190" y="280"/>
                  </a:cubicBezTo>
                  <a:cubicBezTo>
                    <a:pt x="169" y="290"/>
                    <a:pt x="149" y="301"/>
                    <a:pt x="131" y="313"/>
                  </a:cubicBezTo>
                  <a:cubicBezTo>
                    <a:pt x="131" y="366"/>
                    <a:pt x="131" y="366"/>
                    <a:pt x="131" y="366"/>
                  </a:cubicBezTo>
                  <a:cubicBezTo>
                    <a:pt x="106" y="389"/>
                    <a:pt x="85" y="416"/>
                    <a:pt x="70" y="447"/>
                  </a:cubicBezTo>
                  <a:cubicBezTo>
                    <a:pt x="22" y="462"/>
                    <a:pt x="22" y="462"/>
                    <a:pt x="22" y="462"/>
                  </a:cubicBezTo>
                  <a:cubicBezTo>
                    <a:pt x="6" y="503"/>
                    <a:pt x="0" y="547"/>
                    <a:pt x="3" y="593"/>
                  </a:cubicBezTo>
                  <a:cubicBezTo>
                    <a:pt x="48" y="619"/>
                    <a:pt x="48" y="619"/>
                    <a:pt x="48" y="619"/>
                  </a:cubicBezTo>
                  <a:cubicBezTo>
                    <a:pt x="52" y="636"/>
                    <a:pt x="57" y="655"/>
                    <a:pt x="66" y="672"/>
                  </a:cubicBezTo>
                  <a:cubicBezTo>
                    <a:pt x="73" y="688"/>
                    <a:pt x="80" y="704"/>
                    <a:pt x="90" y="718"/>
                  </a:cubicBezTo>
                  <a:cubicBezTo>
                    <a:pt x="78" y="768"/>
                    <a:pt x="78" y="768"/>
                    <a:pt x="78" y="768"/>
                  </a:cubicBezTo>
                  <a:cubicBezTo>
                    <a:pt x="107" y="802"/>
                    <a:pt x="142" y="828"/>
                    <a:pt x="181" y="847"/>
                  </a:cubicBezTo>
                  <a:cubicBezTo>
                    <a:pt x="225" y="820"/>
                    <a:pt x="225" y="820"/>
                    <a:pt x="225" y="820"/>
                  </a:cubicBezTo>
                  <a:cubicBezTo>
                    <a:pt x="253" y="830"/>
                    <a:pt x="283" y="836"/>
                    <a:pt x="315" y="836"/>
                  </a:cubicBezTo>
                  <a:cubicBezTo>
                    <a:pt x="322" y="836"/>
                    <a:pt x="329" y="835"/>
                    <a:pt x="336" y="834"/>
                  </a:cubicBezTo>
                  <a:cubicBezTo>
                    <a:pt x="375" y="870"/>
                    <a:pt x="375" y="870"/>
                    <a:pt x="375" y="870"/>
                  </a:cubicBezTo>
                  <a:cubicBezTo>
                    <a:pt x="394" y="866"/>
                    <a:pt x="415" y="859"/>
                    <a:pt x="435" y="851"/>
                  </a:cubicBezTo>
                  <a:cubicBezTo>
                    <a:pt x="455" y="841"/>
                    <a:pt x="473" y="831"/>
                    <a:pt x="491" y="819"/>
                  </a:cubicBezTo>
                  <a:cubicBezTo>
                    <a:pt x="491" y="768"/>
                    <a:pt x="491" y="768"/>
                    <a:pt x="491" y="768"/>
                  </a:cubicBezTo>
                  <a:cubicBezTo>
                    <a:pt x="520" y="742"/>
                    <a:pt x="542" y="711"/>
                    <a:pt x="558" y="677"/>
                  </a:cubicBezTo>
                  <a:cubicBezTo>
                    <a:pt x="606" y="662"/>
                    <a:pt x="606" y="662"/>
                    <a:pt x="606" y="662"/>
                  </a:cubicBezTo>
                  <a:cubicBezTo>
                    <a:pt x="619" y="626"/>
                    <a:pt x="624" y="587"/>
                    <a:pt x="622" y="548"/>
                  </a:cubicBezTo>
                  <a:cubicBezTo>
                    <a:pt x="622" y="547"/>
                    <a:pt x="622" y="546"/>
                    <a:pt x="622" y="546"/>
                  </a:cubicBezTo>
                  <a:cubicBezTo>
                    <a:pt x="765" y="537"/>
                    <a:pt x="879" y="419"/>
                    <a:pt x="879" y="273"/>
                  </a:cubicBezTo>
                  <a:close/>
                  <a:moveTo>
                    <a:pt x="367" y="690"/>
                  </a:moveTo>
                  <a:cubicBezTo>
                    <a:pt x="349" y="698"/>
                    <a:pt x="331" y="702"/>
                    <a:pt x="313" y="702"/>
                  </a:cubicBezTo>
                  <a:cubicBezTo>
                    <a:pt x="261" y="702"/>
                    <a:pt x="211" y="670"/>
                    <a:pt x="189" y="619"/>
                  </a:cubicBezTo>
                  <a:cubicBezTo>
                    <a:pt x="159" y="550"/>
                    <a:pt x="191" y="471"/>
                    <a:pt x="259" y="442"/>
                  </a:cubicBezTo>
                  <a:cubicBezTo>
                    <a:pt x="276" y="434"/>
                    <a:pt x="294" y="431"/>
                    <a:pt x="311" y="430"/>
                  </a:cubicBezTo>
                  <a:cubicBezTo>
                    <a:pt x="364" y="430"/>
                    <a:pt x="415" y="461"/>
                    <a:pt x="436" y="512"/>
                  </a:cubicBezTo>
                  <a:cubicBezTo>
                    <a:pt x="466" y="580"/>
                    <a:pt x="435" y="661"/>
                    <a:pt x="367" y="690"/>
                  </a:cubicBezTo>
                  <a:close/>
                  <a:moveTo>
                    <a:pt x="770" y="157"/>
                  </a:moveTo>
                  <a:cubicBezTo>
                    <a:pt x="770" y="157"/>
                    <a:pt x="770" y="157"/>
                    <a:pt x="636" y="273"/>
                  </a:cubicBezTo>
                  <a:cubicBezTo>
                    <a:pt x="636" y="273"/>
                    <a:pt x="636" y="273"/>
                    <a:pt x="636" y="274"/>
                  </a:cubicBezTo>
                  <a:cubicBezTo>
                    <a:pt x="636" y="290"/>
                    <a:pt x="622" y="303"/>
                    <a:pt x="606" y="303"/>
                  </a:cubicBezTo>
                  <a:cubicBezTo>
                    <a:pt x="590" y="303"/>
                    <a:pt x="577" y="290"/>
                    <a:pt x="576" y="275"/>
                  </a:cubicBezTo>
                  <a:cubicBezTo>
                    <a:pt x="576" y="275"/>
                    <a:pt x="576" y="275"/>
                    <a:pt x="484" y="210"/>
                  </a:cubicBezTo>
                  <a:cubicBezTo>
                    <a:pt x="478" y="208"/>
                    <a:pt x="477" y="201"/>
                    <a:pt x="481" y="195"/>
                  </a:cubicBezTo>
                  <a:cubicBezTo>
                    <a:pt x="484" y="190"/>
                    <a:pt x="490" y="188"/>
                    <a:pt x="496" y="191"/>
                  </a:cubicBezTo>
                  <a:cubicBezTo>
                    <a:pt x="496" y="191"/>
                    <a:pt x="496" y="191"/>
                    <a:pt x="595" y="246"/>
                  </a:cubicBezTo>
                  <a:cubicBezTo>
                    <a:pt x="599" y="245"/>
                    <a:pt x="602" y="244"/>
                    <a:pt x="606" y="244"/>
                  </a:cubicBezTo>
                  <a:cubicBezTo>
                    <a:pt x="608" y="244"/>
                    <a:pt x="611" y="244"/>
                    <a:pt x="613" y="245"/>
                  </a:cubicBezTo>
                  <a:cubicBezTo>
                    <a:pt x="613" y="245"/>
                    <a:pt x="603" y="254"/>
                    <a:pt x="756" y="138"/>
                  </a:cubicBezTo>
                  <a:cubicBezTo>
                    <a:pt x="758" y="137"/>
                    <a:pt x="762" y="136"/>
                    <a:pt x="764" y="136"/>
                  </a:cubicBezTo>
                  <a:cubicBezTo>
                    <a:pt x="767" y="136"/>
                    <a:pt x="770" y="138"/>
                    <a:pt x="772" y="140"/>
                  </a:cubicBezTo>
                  <a:cubicBezTo>
                    <a:pt x="776" y="145"/>
                    <a:pt x="776" y="153"/>
                    <a:pt x="770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BA7B31-504D-40E2-9D87-BEC84FA36A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74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0EF7900-9443-4432-94A6-3BEC7BCE36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Issue tracking, bug tracking and (agile) project managemen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Jira as Project Management Too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 err="1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Jira Logo - Logo, zeichen, emblem, symbol. Geschichte und Bedeutung">
            <a:extLst>
              <a:ext uri="{FF2B5EF4-FFF2-40B4-BE49-F238E27FC236}">
                <a16:creationId xmlns:a16="http://schemas.microsoft.com/office/drawing/2014/main" id="{8F826AD9-D502-DC83-BA18-AC85630A5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914" y="223606"/>
            <a:ext cx="742301" cy="417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F6528C6-3981-C93A-8E47-9C189FB21A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162" y="1136969"/>
            <a:ext cx="8446172" cy="3159416"/>
          </a:xfrm>
          <a:prstGeom prst="rect">
            <a:avLst/>
          </a:prstGeom>
        </p:spPr>
      </p:pic>
      <p:sp>
        <p:nvSpPr>
          <p:cNvPr id="9" name="NavigationTriangle">
            <a:extLst>
              <a:ext uri="{FF2B5EF4-FFF2-40B4-BE49-F238E27FC236}">
                <a16:creationId xmlns:a16="http://schemas.microsoft.com/office/drawing/2014/main" id="{3B43488F-6C30-484E-AECA-249CF22CBC62}"/>
              </a:ext>
            </a:extLst>
          </p:cNvPr>
          <p:cNvSpPr/>
          <p:nvPr/>
        </p:nvSpPr>
        <p:spPr>
          <a:xfrm rot="16200000">
            <a:off x="8066766" y="-2144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40EE082-BCC6-4C16-863D-4B5E5B755280}"/>
              </a:ext>
            </a:extLst>
          </p:cNvPr>
          <p:cNvGrpSpPr>
            <a:grpSpLocks noChangeAspect="1"/>
          </p:cNvGrpSpPr>
          <p:nvPr/>
        </p:nvGrpSpPr>
        <p:grpSpPr>
          <a:xfrm>
            <a:off x="8611619" y="76851"/>
            <a:ext cx="457200" cy="457200"/>
            <a:chOff x="7324950" y="3200401"/>
            <a:chExt cx="457200" cy="457200"/>
          </a:xfrm>
        </p:grpSpPr>
        <p:sp>
          <p:nvSpPr>
            <p:cNvPr id="11" name="AutoShape 17">
              <a:extLst>
                <a:ext uri="{FF2B5EF4-FFF2-40B4-BE49-F238E27FC236}">
                  <a16:creationId xmlns:a16="http://schemas.microsoft.com/office/drawing/2014/main" id="{48320C72-18A5-48EE-B4BA-D7E69BC5531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8FD4BEB3-D6D0-46E8-A564-0AE1F6BC0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7" y="3230227"/>
              <a:ext cx="402167" cy="398126"/>
            </a:xfrm>
            <a:custGeom>
              <a:avLst/>
              <a:gdLst>
                <a:gd name="T0" fmla="*/ 879 w 879"/>
                <a:gd name="T1" fmla="*/ 273 h 870"/>
                <a:gd name="T2" fmla="*/ 606 w 879"/>
                <a:gd name="T3" fmla="*/ 0 h 870"/>
                <a:gd name="T4" fmla="*/ 333 w 879"/>
                <a:gd name="T5" fmla="*/ 273 h 870"/>
                <a:gd name="T6" fmla="*/ 334 w 879"/>
                <a:gd name="T7" fmla="*/ 296 h 870"/>
                <a:gd name="T8" fmla="*/ 312 w 879"/>
                <a:gd name="T9" fmla="*/ 296 h 870"/>
                <a:gd name="T10" fmla="*/ 292 w 879"/>
                <a:gd name="T11" fmla="*/ 296 h 870"/>
                <a:gd name="T12" fmla="*/ 253 w 879"/>
                <a:gd name="T13" fmla="*/ 261 h 870"/>
                <a:gd name="T14" fmla="*/ 190 w 879"/>
                <a:gd name="T15" fmla="*/ 280 h 870"/>
                <a:gd name="T16" fmla="*/ 131 w 879"/>
                <a:gd name="T17" fmla="*/ 313 h 870"/>
                <a:gd name="T18" fmla="*/ 131 w 879"/>
                <a:gd name="T19" fmla="*/ 366 h 870"/>
                <a:gd name="T20" fmla="*/ 70 w 879"/>
                <a:gd name="T21" fmla="*/ 447 h 870"/>
                <a:gd name="T22" fmla="*/ 22 w 879"/>
                <a:gd name="T23" fmla="*/ 462 h 870"/>
                <a:gd name="T24" fmla="*/ 3 w 879"/>
                <a:gd name="T25" fmla="*/ 593 h 870"/>
                <a:gd name="T26" fmla="*/ 48 w 879"/>
                <a:gd name="T27" fmla="*/ 619 h 870"/>
                <a:gd name="T28" fmla="*/ 66 w 879"/>
                <a:gd name="T29" fmla="*/ 672 h 870"/>
                <a:gd name="T30" fmla="*/ 90 w 879"/>
                <a:gd name="T31" fmla="*/ 718 h 870"/>
                <a:gd name="T32" fmla="*/ 78 w 879"/>
                <a:gd name="T33" fmla="*/ 768 h 870"/>
                <a:gd name="T34" fmla="*/ 181 w 879"/>
                <a:gd name="T35" fmla="*/ 847 h 870"/>
                <a:gd name="T36" fmla="*/ 225 w 879"/>
                <a:gd name="T37" fmla="*/ 820 h 870"/>
                <a:gd name="T38" fmla="*/ 315 w 879"/>
                <a:gd name="T39" fmla="*/ 836 h 870"/>
                <a:gd name="T40" fmla="*/ 336 w 879"/>
                <a:gd name="T41" fmla="*/ 834 h 870"/>
                <a:gd name="T42" fmla="*/ 375 w 879"/>
                <a:gd name="T43" fmla="*/ 870 h 870"/>
                <a:gd name="T44" fmla="*/ 435 w 879"/>
                <a:gd name="T45" fmla="*/ 851 h 870"/>
                <a:gd name="T46" fmla="*/ 491 w 879"/>
                <a:gd name="T47" fmla="*/ 819 h 870"/>
                <a:gd name="T48" fmla="*/ 491 w 879"/>
                <a:gd name="T49" fmla="*/ 768 h 870"/>
                <a:gd name="T50" fmla="*/ 558 w 879"/>
                <a:gd name="T51" fmla="*/ 677 h 870"/>
                <a:gd name="T52" fmla="*/ 606 w 879"/>
                <a:gd name="T53" fmla="*/ 662 h 870"/>
                <a:gd name="T54" fmla="*/ 622 w 879"/>
                <a:gd name="T55" fmla="*/ 548 h 870"/>
                <a:gd name="T56" fmla="*/ 622 w 879"/>
                <a:gd name="T57" fmla="*/ 546 h 870"/>
                <a:gd name="T58" fmla="*/ 879 w 879"/>
                <a:gd name="T59" fmla="*/ 273 h 870"/>
                <a:gd name="T60" fmla="*/ 367 w 879"/>
                <a:gd name="T61" fmla="*/ 690 h 870"/>
                <a:gd name="T62" fmla="*/ 313 w 879"/>
                <a:gd name="T63" fmla="*/ 702 h 870"/>
                <a:gd name="T64" fmla="*/ 189 w 879"/>
                <a:gd name="T65" fmla="*/ 619 h 870"/>
                <a:gd name="T66" fmla="*/ 259 w 879"/>
                <a:gd name="T67" fmla="*/ 442 h 870"/>
                <a:gd name="T68" fmla="*/ 311 w 879"/>
                <a:gd name="T69" fmla="*/ 430 h 870"/>
                <a:gd name="T70" fmla="*/ 436 w 879"/>
                <a:gd name="T71" fmla="*/ 512 h 870"/>
                <a:gd name="T72" fmla="*/ 367 w 879"/>
                <a:gd name="T73" fmla="*/ 690 h 870"/>
                <a:gd name="T74" fmla="*/ 770 w 879"/>
                <a:gd name="T75" fmla="*/ 157 h 870"/>
                <a:gd name="T76" fmla="*/ 636 w 879"/>
                <a:gd name="T77" fmla="*/ 273 h 870"/>
                <a:gd name="T78" fmla="*/ 636 w 879"/>
                <a:gd name="T79" fmla="*/ 274 h 870"/>
                <a:gd name="T80" fmla="*/ 606 w 879"/>
                <a:gd name="T81" fmla="*/ 303 h 870"/>
                <a:gd name="T82" fmla="*/ 576 w 879"/>
                <a:gd name="T83" fmla="*/ 275 h 870"/>
                <a:gd name="T84" fmla="*/ 484 w 879"/>
                <a:gd name="T85" fmla="*/ 210 h 870"/>
                <a:gd name="T86" fmla="*/ 481 w 879"/>
                <a:gd name="T87" fmla="*/ 195 h 870"/>
                <a:gd name="T88" fmla="*/ 496 w 879"/>
                <a:gd name="T89" fmla="*/ 191 h 870"/>
                <a:gd name="T90" fmla="*/ 595 w 879"/>
                <a:gd name="T91" fmla="*/ 246 h 870"/>
                <a:gd name="T92" fmla="*/ 606 w 879"/>
                <a:gd name="T93" fmla="*/ 244 h 870"/>
                <a:gd name="T94" fmla="*/ 613 w 879"/>
                <a:gd name="T95" fmla="*/ 245 h 870"/>
                <a:gd name="T96" fmla="*/ 756 w 879"/>
                <a:gd name="T97" fmla="*/ 138 h 870"/>
                <a:gd name="T98" fmla="*/ 764 w 879"/>
                <a:gd name="T99" fmla="*/ 136 h 870"/>
                <a:gd name="T100" fmla="*/ 772 w 879"/>
                <a:gd name="T101" fmla="*/ 140 h 870"/>
                <a:gd name="T102" fmla="*/ 770 w 879"/>
                <a:gd name="T103" fmla="*/ 157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79" h="870">
                  <a:moveTo>
                    <a:pt x="879" y="273"/>
                  </a:moveTo>
                  <a:cubicBezTo>
                    <a:pt x="879" y="122"/>
                    <a:pt x="757" y="0"/>
                    <a:pt x="606" y="0"/>
                  </a:cubicBezTo>
                  <a:cubicBezTo>
                    <a:pt x="455" y="0"/>
                    <a:pt x="333" y="122"/>
                    <a:pt x="333" y="273"/>
                  </a:cubicBezTo>
                  <a:cubicBezTo>
                    <a:pt x="333" y="281"/>
                    <a:pt x="333" y="289"/>
                    <a:pt x="334" y="296"/>
                  </a:cubicBezTo>
                  <a:cubicBezTo>
                    <a:pt x="326" y="296"/>
                    <a:pt x="319" y="296"/>
                    <a:pt x="312" y="296"/>
                  </a:cubicBezTo>
                  <a:cubicBezTo>
                    <a:pt x="305" y="296"/>
                    <a:pt x="299" y="296"/>
                    <a:pt x="292" y="296"/>
                  </a:cubicBezTo>
                  <a:cubicBezTo>
                    <a:pt x="253" y="261"/>
                    <a:pt x="253" y="261"/>
                    <a:pt x="253" y="261"/>
                  </a:cubicBezTo>
                  <a:cubicBezTo>
                    <a:pt x="233" y="266"/>
                    <a:pt x="211" y="271"/>
                    <a:pt x="190" y="280"/>
                  </a:cubicBezTo>
                  <a:cubicBezTo>
                    <a:pt x="169" y="290"/>
                    <a:pt x="149" y="301"/>
                    <a:pt x="131" y="313"/>
                  </a:cubicBezTo>
                  <a:cubicBezTo>
                    <a:pt x="131" y="366"/>
                    <a:pt x="131" y="366"/>
                    <a:pt x="131" y="366"/>
                  </a:cubicBezTo>
                  <a:cubicBezTo>
                    <a:pt x="106" y="389"/>
                    <a:pt x="85" y="416"/>
                    <a:pt x="70" y="447"/>
                  </a:cubicBezTo>
                  <a:cubicBezTo>
                    <a:pt x="22" y="462"/>
                    <a:pt x="22" y="462"/>
                    <a:pt x="22" y="462"/>
                  </a:cubicBezTo>
                  <a:cubicBezTo>
                    <a:pt x="6" y="503"/>
                    <a:pt x="0" y="547"/>
                    <a:pt x="3" y="593"/>
                  </a:cubicBezTo>
                  <a:cubicBezTo>
                    <a:pt x="48" y="619"/>
                    <a:pt x="48" y="619"/>
                    <a:pt x="48" y="619"/>
                  </a:cubicBezTo>
                  <a:cubicBezTo>
                    <a:pt x="52" y="636"/>
                    <a:pt x="57" y="655"/>
                    <a:pt x="66" y="672"/>
                  </a:cubicBezTo>
                  <a:cubicBezTo>
                    <a:pt x="73" y="688"/>
                    <a:pt x="80" y="704"/>
                    <a:pt x="90" y="718"/>
                  </a:cubicBezTo>
                  <a:cubicBezTo>
                    <a:pt x="78" y="768"/>
                    <a:pt x="78" y="768"/>
                    <a:pt x="78" y="768"/>
                  </a:cubicBezTo>
                  <a:cubicBezTo>
                    <a:pt x="107" y="802"/>
                    <a:pt x="142" y="828"/>
                    <a:pt x="181" y="847"/>
                  </a:cubicBezTo>
                  <a:cubicBezTo>
                    <a:pt x="225" y="820"/>
                    <a:pt x="225" y="820"/>
                    <a:pt x="225" y="820"/>
                  </a:cubicBezTo>
                  <a:cubicBezTo>
                    <a:pt x="253" y="830"/>
                    <a:pt x="283" y="836"/>
                    <a:pt x="315" y="836"/>
                  </a:cubicBezTo>
                  <a:cubicBezTo>
                    <a:pt x="322" y="836"/>
                    <a:pt x="329" y="835"/>
                    <a:pt x="336" y="834"/>
                  </a:cubicBezTo>
                  <a:cubicBezTo>
                    <a:pt x="375" y="870"/>
                    <a:pt x="375" y="870"/>
                    <a:pt x="375" y="870"/>
                  </a:cubicBezTo>
                  <a:cubicBezTo>
                    <a:pt x="394" y="866"/>
                    <a:pt x="415" y="859"/>
                    <a:pt x="435" y="851"/>
                  </a:cubicBezTo>
                  <a:cubicBezTo>
                    <a:pt x="455" y="841"/>
                    <a:pt x="473" y="831"/>
                    <a:pt x="491" y="819"/>
                  </a:cubicBezTo>
                  <a:cubicBezTo>
                    <a:pt x="491" y="768"/>
                    <a:pt x="491" y="768"/>
                    <a:pt x="491" y="768"/>
                  </a:cubicBezTo>
                  <a:cubicBezTo>
                    <a:pt x="520" y="742"/>
                    <a:pt x="542" y="711"/>
                    <a:pt x="558" y="677"/>
                  </a:cubicBezTo>
                  <a:cubicBezTo>
                    <a:pt x="606" y="662"/>
                    <a:pt x="606" y="662"/>
                    <a:pt x="606" y="662"/>
                  </a:cubicBezTo>
                  <a:cubicBezTo>
                    <a:pt x="619" y="626"/>
                    <a:pt x="624" y="587"/>
                    <a:pt x="622" y="548"/>
                  </a:cubicBezTo>
                  <a:cubicBezTo>
                    <a:pt x="622" y="547"/>
                    <a:pt x="622" y="546"/>
                    <a:pt x="622" y="546"/>
                  </a:cubicBezTo>
                  <a:cubicBezTo>
                    <a:pt x="765" y="537"/>
                    <a:pt x="879" y="419"/>
                    <a:pt x="879" y="273"/>
                  </a:cubicBezTo>
                  <a:close/>
                  <a:moveTo>
                    <a:pt x="367" y="690"/>
                  </a:moveTo>
                  <a:cubicBezTo>
                    <a:pt x="349" y="698"/>
                    <a:pt x="331" y="702"/>
                    <a:pt x="313" y="702"/>
                  </a:cubicBezTo>
                  <a:cubicBezTo>
                    <a:pt x="261" y="702"/>
                    <a:pt x="211" y="670"/>
                    <a:pt x="189" y="619"/>
                  </a:cubicBezTo>
                  <a:cubicBezTo>
                    <a:pt x="159" y="550"/>
                    <a:pt x="191" y="471"/>
                    <a:pt x="259" y="442"/>
                  </a:cubicBezTo>
                  <a:cubicBezTo>
                    <a:pt x="276" y="434"/>
                    <a:pt x="294" y="431"/>
                    <a:pt x="311" y="430"/>
                  </a:cubicBezTo>
                  <a:cubicBezTo>
                    <a:pt x="364" y="430"/>
                    <a:pt x="415" y="461"/>
                    <a:pt x="436" y="512"/>
                  </a:cubicBezTo>
                  <a:cubicBezTo>
                    <a:pt x="466" y="580"/>
                    <a:pt x="435" y="661"/>
                    <a:pt x="367" y="690"/>
                  </a:cubicBezTo>
                  <a:close/>
                  <a:moveTo>
                    <a:pt x="770" y="157"/>
                  </a:moveTo>
                  <a:cubicBezTo>
                    <a:pt x="770" y="157"/>
                    <a:pt x="770" y="157"/>
                    <a:pt x="636" y="273"/>
                  </a:cubicBezTo>
                  <a:cubicBezTo>
                    <a:pt x="636" y="273"/>
                    <a:pt x="636" y="273"/>
                    <a:pt x="636" y="274"/>
                  </a:cubicBezTo>
                  <a:cubicBezTo>
                    <a:pt x="636" y="290"/>
                    <a:pt x="622" y="303"/>
                    <a:pt x="606" y="303"/>
                  </a:cubicBezTo>
                  <a:cubicBezTo>
                    <a:pt x="590" y="303"/>
                    <a:pt x="577" y="290"/>
                    <a:pt x="576" y="275"/>
                  </a:cubicBezTo>
                  <a:cubicBezTo>
                    <a:pt x="576" y="275"/>
                    <a:pt x="576" y="275"/>
                    <a:pt x="484" y="210"/>
                  </a:cubicBezTo>
                  <a:cubicBezTo>
                    <a:pt x="478" y="208"/>
                    <a:pt x="477" y="201"/>
                    <a:pt x="481" y="195"/>
                  </a:cubicBezTo>
                  <a:cubicBezTo>
                    <a:pt x="484" y="190"/>
                    <a:pt x="490" y="188"/>
                    <a:pt x="496" y="191"/>
                  </a:cubicBezTo>
                  <a:cubicBezTo>
                    <a:pt x="496" y="191"/>
                    <a:pt x="496" y="191"/>
                    <a:pt x="595" y="246"/>
                  </a:cubicBezTo>
                  <a:cubicBezTo>
                    <a:pt x="599" y="245"/>
                    <a:pt x="602" y="244"/>
                    <a:pt x="606" y="244"/>
                  </a:cubicBezTo>
                  <a:cubicBezTo>
                    <a:pt x="608" y="244"/>
                    <a:pt x="611" y="244"/>
                    <a:pt x="613" y="245"/>
                  </a:cubicBezTo>
                  <a:cubicBezTo>
                    <a:pt x="613" y="245"/>
                    <a:pt x="603" y="254"/>
                    <a:pt x="756" y="138"/>
                  </a:cubicBezTo>
                  <a:cubicBezTo>
                    <a:pt x="758" y="137"/>
                    <a:pt x="762" y="136"/>
                    <a:pt x="764" y="136"/>
                  </a:cubicBezTo>
                  <a:cubicBezTo>
                    <a:pt x="767" y="136"/>
                    <a:pt x="770" y="138"/>
                    <a:pt x="772" y="140"/>
                  </a:cubicBezTo>
                  <a:cubicBezTo>
                    <a:pt x="776" y="145"/>
                    <a:pt x="776" y="153"/>
                    <a:pt x="770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78543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0EF7900-9443-4432-94A6-3BEC7BCE36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Issue tracking, bug tracking and (agile) project managemen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7327073-11DD-47A1-A0A3-AEC7A5996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Jira as Project Management Tool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23D925-8B03-4C79-B8CE-4001D0995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5F679E-5B33-42AE-B85D-5377D376EE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pl-PL"/>
              <a:t>Pecha Kucha by Group 4</a:t>
            </a:r>
            <a:endParaRPr lang="en-US" err="1"/>
          </a:p>
        </p:txBody>
      </p:sp>
      <p:pic>
        <p:nvPicPr>
          <p:cNvPr id="8" name="Grafik 2" descr="countdown.gif">
            <a:extLst>
              <a:ext uri="{FF2B5EF4-FFF2-40B4-BE49-F238E27FC236}">
                <a16:creationId xmlns:a16="http://schemas.microsoft.com/office/drawing/2014/main" id="{9F18EF32-707B-47E4-B94B-5CA81854BA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13" y="4575685"/>
            <a:ext cx="1258887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F6528C6-3981-C93A-8E47-9C189FB21A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162" y="1136969"/>
            <a:ext cx="8446172" cy="3159416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7D1582C9-CB90-6ECB-6328-EE4362B19985}"/>
              </a:ext>
            </a:extLst>
          </p:cNvPr>
          <p:cNvSpPr txBox="1"/>
          <p:nvPr/>
        </p:nvSpPr>
        <p:spPr>
          <a:xfrm>
            <a:off x="7229103" y="2011752"/>
            <a:ext cx="1617690" cy="890244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pPr marL="90170">
              <a:lnSpc>
                <a:spcPct val="114000"/>
              </a:lnSpc>
            </a:pPr>
            <a:r>
              <a:rPr lang="en-GB" sz="1200" b="1">
                <a:latin typeface="+mn-lt"/>
                <a:cs typeface="+mn-cs"/>
              </a:rPr>
              <a:t>Sprint</a:t>
            </a:r>
            <a:r>
              <a:rPr lang="en-GB" sz="1200" b="1"/>
              <a:t>:</a:t>
            </a:r>
            <a:endParaRPr lang="en-GB" sz="1200" b="1">
              <a:cs typeface="Arial"/>
            </a:endParaRPr>
          </a:p>
          <a:p>
            <a:pPr marL="271145" indent="-180975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en-GB" sz="1200"/>
              <a:t>Duration</a:t>
            </a:r>
            <a:r>
              <a:rPr lang="en-GB" sz="1200" b="1"/>
              <a:t>: </a:t>
            </a:r>
            <a:r>
              <a:rPr lang="en-GB" sz="1200"/>
              <a:t>2 weeks</a:t>
            </a:r>
            <a:endParaRPr lang="en-GB" sz="1200">
              <a:cs typeface="Arial"/>
            </a:endParaRPr>
          </a:p>
          <a:p>
            <a:pPr marL="271145" indent="-180975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en-GB" sz="1200">
                <a:latin typeface="+mn-lt"/>
                <a:cs typeface="+mn-cs"/>
              </a:rPr>
              <a:t>Defines tasks with assigned persons</a:t>
            </a:r>
          </a:p>
          <a:p>
            <a:pPr marL="90170">
              <a:lnSpc>
                <a:spcPct val="114000"/>
              </a:lnSpc>
            </a:pPr>
            <a:endParaRPr lang="en-GB" sz="300">
              <a:latin typeface="+mn-lt"/>
              <a:cs typeface="Arial"/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CA50F6C-1ABB-58BB-FE96-88E7DD1D5661}"/>
              </a:ext>
            </a:extLst>
          </p:cNvPr>
          <p:cNvCxnSpPr>
            <a:cxnSpLocks/>
          </p:cNvCxnSpPr>
          <p:nvPr/>
        </p:nvCxnSpPr>
        <p:spPr>
          <a:xfrm flipH="1">
            <a:off x="4854528" y="2110154"/>
            <a:ext cx="2365701" cy="25120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B42FF99A-96C0-A269-084D-062964C688F3}"/>
              </a:ext>
            </a:extLst>
          </p:cNvPr>
          <p:cNvCxnSpPr>
            <a:cxnSpLocks/>
          </p:cNvCxnSpPr>
          <p:nvPr/>
        </p:nvCxnSpPr>
        <p:spPr>
          <a:xfrm flipH="1">
            <a:off x="5579591" y="2104877"/>
            <a:ext cx="1638321" cy="42924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8E6C874C-1600-1AD2-6757-21E3A3F10E6C}"/>
              </a:ext>
            </a:extLst>
          </p:cNvPr>
          <p:cNvCxnSpPr>
            <a:cxnSpLocks/>
          </p:cNvCxnSpPr>
          <p:nvPr/>
        </p:nvCxnSpPr>
        <p:spPr>
          <a:xfrm flipH="1">
            <a:off x="6369130" y="2104877"/>
            <a:ext cx="837276" cy="67726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4" descr="Jira Logo - Logo, zeichen, emblem, symbol. Geschichte und Bedeutung">
            <a:extLst>
              <a:ext uri="{FF2B5EF4-FFF2-40B4-BE49-F238E27FC236}">
                <a16:creationId xmlns:a16="http://schemas.microsoft.com/office/drawing/2014/main" id="{F875C537-A70C-356B-0F48-E5115D522E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914" y="223606"/>
            <a:ext cx="742301" cy="417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NavigationTriangle">
            <a:extLst>
              <a:ext uri="{FF2B5EF4-FFF2-40B4-BE49-F238E27FC236}">
                <a16:creationId xmlns:a16="http://schemas.microsoft.com/office/drawing/2014/main" id="{0B8FE09D-6F11-4CD7-BFF2-3F2FCA493308}"/>
              </a:ext>
            </a:extLst>
          </p:cNvPr>
          <p:cNvSpPr/>
          <p:nvPr/>
        </p:nvSpPr>
        <p:spPr>
          <a:xfrm rot="16200000">
            <a:off x="8066766" y="-21447"/>
            <a:ext cx="1054387" cy="1097280"/>
          </a:xfrm>
          <a:prstGeom prst="triangle">
            <a:avLst>
              <a:gd name="adj" fmla="val 100000"/>
            </a:avLst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FC70A55-E1AD-4E69-A66B-BE570D4E70D2}"/>
              </a:ext>
            </a:extLst>
          </p:cNvPr>
          <p:cNvGrpSpPr>
            <a:grpSpLocks noChangeAspect="1"/>
          </p:cNvGrpSpPr>
          <p:nvPr/>
        </p:nvGrpSpPr>
        <p:grpSpPr>
          <a:xfrm>
            <a:off x="8611619" y="76851"/>
            <a:ext cx="457200" cy="457200"/>
            <a:chOff x="7324950" y="3200401"/>
            <a:chExt cx="457200" cy="457200"/>
          </a:xfrm>
        </p:grpSpPr>
        <p:sp>
          <p:nvSpPr>
            <p:cNvPr id="19" name="AutoShape 17">
              <a:extLst>
                <a:ext uri="{FF2B5EF4-FFF2-40B4-BE49-F238E27FC236}">
                  <a16:creationId xmlns:a16="http://schemas.microsoft.com/office/drawing/2014/main" id="{25D5167E-2DF2-4958-B547-66FE6D05B6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50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56C69DC0-0F91-4D8D-99CB-3BCE62E024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2467" y="3230227"/>
              <a:ext cx="402167" cy="398126"/>
            </a:xfrm>
            <a:custGeom>
              <a:avLst/>
              <a:gdLst>
                <a:gd name="T0" fmla="*/ 879 w 879"/>
                <a:gd name="T1" fmla="*/ 273 h 870"/>
                <a:gd name="T2" fmla="*/ 606 w 879"/>
                <a:gd name="T3" fmla="*/ 0 h 870"/>
                <a:gd name="T4" fmla="*/ 333 w 879"/>
                <a:gd name="T5" fmla="*/ 273 h 870"/>
                <a:gd name="T6" fmla="*/ 334 w 879"/>
                <a:gd name="T7" fmla="*/ 296 h 870"/>
                <a:gd name="T8" fmla="*/ 312 w 879"/>
                <a:gd name="T9" fmla="*/ 296 h 870"/>
                <a:gd name="T10" fmla="*/ 292 w 879"/>
                <a:gd name="T11" fmla="*/ 296 h 870"/>
                <a:gd name="T12" fmla="*/ 253 w 879"/>
                <a:gd name="T13" fmla="*/ 261 h 870"/>
                <a:gd name="T14" fmla="*/ 190 w 879"/>
                <a:gd name="T15" fmla="*/ 280 h 870"/>
                <a:gd name="T16" fmla="*/ 131 w 879"/>
                <a:gd name="T17" fmla="*/ 313 h 870"/>
                <a:gd name="T18" fmla="*/ 131 w 879"/>
                <a:gd name="T19" fmla="*/ 366 h 870"/>
                <a:gd name="T20" fmla="*/ 70 w 879"/>
                <a:gd name="T21" fmla="*/ 447 h 870"/>
                <a:gd name="T22" fmla="*/ 22 w 879"/>
                <a:gd name="T23" fmla="*/ 462 h 870"/>
                <a:gd name="T24" fmla="*/ 3 w 879"/>
                <a:gd name="T25" fmla="*/ 593 h 870"/>
                <a:gd name="T26" fmla="*/ 48 w 879"/>
                <a:gd name="T27" fmla="*/ 619 h 870"/>
                <a:gd name="T28" fmla="*/ 66 w 879"/>
                <a:gd name="T29" fmla="*/ 672 h 870"/>
                <a:gd name="T30" fmla="*/ 90 w 879"/>
                <a:gd name="T31" fmla="*/ 718 h 870"/>
                <a:gd name="T32" fmla="*/ 78 w 879"/>
                <a:gd name="T33" fmla="*/ 768 h 870"/>
                <a:gd name="T34" fmla="*/ 181 w 879"/>
                <a:gd name="T35" fmla="*/ 847 h 870"/>
                <a:gd name="T36" fmla="*/ 225 w 879"/>
                <a:gd name="T37" fmla="*/ 820 h 870"/>
                <a:gd name="T38" fmla="*/ 315 w 879"/>
                <a:gd name="T39" fmla="*/ 836 h 870"/>
                <a:gd name="T40" fmla="*/ 336 w 879"/>
                <a:gd name="T41" fmla="*/ 834 h 870"/>
                <a:gd name="T42" fmla="*/ 375 w 879"/>
                <a:gd name="T43" fmla="*/ 870 h 870"/>
                <a:gd name="T44" fmla="*/ 435 w 879"/>
                <a:gd name="T45" fmla="*/ 851 h 870"/>
                <a:gd name="T46" fmla="*/ 491 w 879"/>
                <a:gd name="T47" fmla="*/ 819 h 870"/>
                <a:gd name="T48" fmla="*/ 491 w 879"/>
                <a:gd name="T49" fmla="*/ 768 h 870"/>
                <a:gd name="T50" fmla="*/ 558 w 879"/>
                <a:gd name="T51" fmla="*/ 677 h 870"/>
                <a:gd name="T52" fmla="*/ 606 w 879"/>
                <a:gd name="T53" fmla="*/ 662 h 870"/>
                <a:gd name="T54" fmla="*/ 622 w 879"/>
                <a:gd name="T55" fmla="*/ 548 h 870"/>
                <a:gd name="T56" fmla="*/ 622 w 879"/>
                <a:gd name="T57" fmla="*/ 546 h 870"/>
                <a:gd name="T58" fmla="*/ 879 w 879"/>
                <a:gd name="T59" fmla="*/ 273 h 870"/>
                <a:gd name="T60" fmla="*/ 367 w 879"/>
                <a:gd name="T61" fmla="*/ 690 h 870"/>
                <a:gd name="T62" fmla="*/ 313 w 879"/>
                <a:gd name="T63" fmla="*/ 702 h 870"/>
                <a:gd name="T64" fmla="*/ 189 w 879"/>
                <a:gd name="T65" fmla="*/ 619 h 870"/>
                <a:gd name="T66" fmla="*/ 259 w 879"/>
                <a:gd name="T67" fmla="*/ 442 h 870"/>
                <a:gd name="T68" fmla="*/ 311 w 879"/>
                <a:gd name="T69" fmla="*/ 430 h 870"/>
                <a:gd name="T70" fmla="*/ 436 w 879"/>
                <a:gd name="T71" fmla="*/ 512 h 870"/>
                <a:gd name="T72" fmla="*/ 367 w 879"/>
                <a:gd name="T73" fmla="*/ 690 h 870"/>
                <a:gd name="T74" fmla="*/ 770 w 879"/>
                <a:gd name="T75" fmla="*/ 157 h 870"/>
                <a:gd name="T76" fmla="*/ 636 w 879"/>
                <a:gd name="T77" fmla="*/ 273 h 870"/>
                <a:gd name="T78" fmla="*/ 636 w 879"/>
                <a:gd name="T79" fmla="*/ 274 h 870"/>
                <a:gd name="T80" fmla="*/ 606 w 879"/>
                <a:gd name="T81" fmla="*/ 303 h 870"/>
                <a:gd name="T82" fmla="*/ 576 w 879"/>
                <a:gd name="T83" fmla="*/ 275 h 870"/>
                <a:gd name="T84" fmla="*/ 484 w 879"/>
                <a:gd name="T85" fmla="*/ 210 h 870"/>
                <a:gd name="T86" fmla="*/ 481 w 879"/>
                <a:gd name="T87" fmla="*/ 195 h 870"/>
                <a:gd name="T88" fmla="*/ 496 w 879"/>
                <a:gd name="T89" fmla="*/ 191 h 870"/>
                <a:gd name="T90" fmla="*/ 595 w 879"/>
                <a:gd name="T91" fmla="*/ 246 h 870"/>
                <a:gd name="T92" fmla="*/ 606 w 879"/>
                <a:gd name="T93" fmla="*/ 244 h 870"/>
                <a:gd name="T94" fmla="*/ 613 w 879"/>
                <a:gd name="T95" fmla="*/ 245 h 870"/>
                <a:gd name="T96" fmla="*/ 756 w 879"/>
                <a:gd name="T97" fmla="*/ 138 h 870"/>
                <a:gd name="T98" fmla="*/ 764 w 879"/>
                <a:gd name="T99" fmla="*/ 136 h 870"/>
                <a:gd name="T100" fmla="*/ 772 w 879"/>
                <a:gd name="T101" fmla="*/ 140 h 870"/>
                <a:gd name="T102" fmla="*/ 770 w 879"/>
                <a:gd name="T103" fmla="*/ 157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79" h="870">
                  <a:moveTo>
                    <a:pt x="879" y="273"/>
                  </a:moveTo>
                  <a:cubicBezTo>
                    <a:pt x="879" y="122"/>
                    <a:pt x="757" y="0"/>
                    <a:pt x="606" y="0"/>
                  </a:cubicBezTo>
                  <a:cubicBezTo>
                    <a:pt x="455" y="0"/>
                    <a:pt x="333" y="122"/>
                    <a:pt x="333" y="273"/>
                  </a:cubicBezTo>
                  <a:cubicBezTo>
                    <a:pt x="333" y="281"/>
                    <a:pt x="333" y="289"/>
                    <a:pt x="334" y="296"/>
                  </a:cubicBezTo>
                  <a:cubicBezTo>
                    <a:pt x="326" y="296"/>
                    <a:pt x="319" y="296"/>
                    <a:pt x="312" y="296"/>
                  </a:cubicBezTo>
                  <a:cubicBezTo>
                    <a:pt x="305" y="296"/>
                    <a:pt x="299" y="296"/>
                    <a:pt x="292" y="296"/>
                  </a:cubicBezTo>
                  <a:cubicBezTo>
                    <a:pt x="253" y="261"/>
                    <a:pt x="253" y="261"/>
                    <a:pt x="253" y="261"/>
                  </a:cubicBezTo>
                  <a:cubicBezTo>
                    <a:pt x="233" y="266"/>
                    <a:pt x="211" y="271"/>
                    <a:pt x="190" y="280"/>
                  </a:cubicBezTo>
                  <a:cubicBezTo>
                    <a:pt x="169" y="290"/>
                    <a:pt x="149" y="301"/>
                    <a:pt x="131" y="313"/>
                  </a:cubicBezTo>
                  <a:cubicBezTo>
                    <a:pt x="131" y="366"/>
                    <a:pt x="131" y="366"/>
                    <a:pt x="131" y="366"/>
                  </a:cubicBezTo>
                  <a:cubicBezTo>
                    <a:pt x="106" y="389"/>
                    <a:pt x="85" y="416"/>
                    <a:pt x="70" y="447"/>
                  </a:cubicBezTo>
                  <a:cubicBezTo>
                    <a:pt x="22" y="462"/>
                    <a:pt x="22" y="462"/>
                    <a:pt x="22" y="462"/>
                  </a:cubicBezTo>
                  <a:cubicBezTo>
                    <a:pt x="6" y="503"/>
                    <a:pt x="0" y="547"/>
                    <a:pt x="3" y="593"/>
                  </a:cubicBezTo>
                  <a:cubicBezTo>
                    <a:pt x="48" y="619"/>
                    <a:pt x="48" y="619"/>
                    <a:pt x="48" y="619"/>
                  </a:cubicBezTo>
                  <a:cubicBezTo>
                    <a:pt x="52" y="636"/>
                    <a:pt x="57" y="655"/>
                    <a:pt x="66" y="672"/>
                  </a:cubicBezTo>
                  <a:cubicBezTo>
                    <a:pt x="73" y="688"/>
                    <a:pt x="80" y="704"/>
                    <a:pt x="90" y="718"/>
                  </a:cubicBezTo>
                  <a:cubicBezTo>
                    <a:pt x="78" y="768"/>
                    <a:pt x="78" y="768"/>
                    <a:pt x="78" y="768"/>
                  </a:cubicBezTo>
                  <a:cubicBezTo>
                    <a:pt x="107" y="802"/>
                    <a:pt x="142" y="828"/>
                    <a:pt x="181" y="847"/>
                  </a:cubicBezTo>
                  <a:cubicBezTo>
                    <a:pt x="225" y="820"/>
                    <a:pt x="225" y="820"/>
                    <a:pt x="225" y="820"/>
                  </a:cubicBezTo>
                  <a:cubicBezTo>
                    <a:pt x="253" y="830"/>
                    <a:pt x="283" y="836"/>
                    <a:pt x="315" y="836"/>
                  </a:cubicBezTo>
                  <a:cubicBezTo>
                    <a:pt x="322" y="836"/>
                    <a:pt x="329" y="835"/>
                    <a:pt x="336" y="834"/>
                  </a:cubicBezTo>
                  <a:cubicBezTo>
                    <a:pt x="375" y="870"/>
                    <a:pt x="375" y="870"/>
                    <a:pt x="375" y="870"/>
                  </a:cubicBezTo>
                  <a:cubicBezTo>
                    <a:pt x="394" y="866"/>
                    <a:pt x="415" y="859"/>
                    <a:pt x="435" y="851"/>
                  </a:cubicBezTo>
                  <a:cubicBezTo>
                    <a:pt x="455" y="841"/>
                    <a:pt x="473" y="831"/>
                    <a:pt x="491" y="819"/>
                  </a:cubicBezTo>
                  <a:cubicBezTo>
                    <a:pt x="491" y="768"/>
                    <a:pt x="491" y="768"/>
                    <a:pt x="491" y="768"/>
                  </a:cubicBezTo>
                  <a:cubicBezTo>
                    <a:pt x="520" y="742"/>
                    <a:pt x="542" y="711"/>
                    <a:pt x="558" y="677"/>
                  </a:cubicBezTo>
                  <a:cubicBezTo>
                    <a:pt x="606" y="662"/>
                    <a:pt x="606" y="662"/>
                    <a:pt x="606" y="662"/>
                  </a:cubicBezTo>
                  <a:cubicBezTo>
                    <a:pt x="619" y="626"/>
                    <a:pt x="624" y="587"/>
                    <a:pt x="622" y="548"/>
                  </a:cubicBezTo>
                  <a:cubicBezTo>
                    <a:pt x="622" y="547"/>
                    <a:pt x="622" y="546"/>
                    <a:pt x="622" y="546"/>
                  </a:cubicBezTo>
                  <a:cubicBezTo>
                    <a:pt x="765" y="537"/>
                    <a:pt x="879" y="419"/>
                    <a:pt x="879" y="273"/>
                  </a:cubicBezTo>
                  <a:close/>
                  <a:moveTo>
                    <a:pt x="367" y="690"/>
                  </a:moveTo>
                  <a:cubicBezTo>
                    <a:pt x="349" y="698"/>
                    <a:pt x="331" y="702"/>
                    <a:pt x="313" y="702"/>
                  </a:cubicBezTo>
                  <a:cubicBezTo>
                    <a:pt x="261" y="702"/>
                    <a:pt x="211" y="670"/>
                    <a:pt x="189" y="619"/>
                  </a:cubicBezTo>
                  <a:cubicBezTo>
                    <a:pt x="159" y="550"/>
                    <a:pt x="191" y="471"/>
                    <a:pt x="259" y="442"/>
                  </a:cubicBezTo>
                  <a:cubicBezTo>
                    <a:pt x="276" y="434"/>
                    <a:pt x="294" y="431"/>
                    <a:pt x="311" y="430"/>
                  </a:cubicBezTo>
                  <a:cubicBezTo>
                    <a:pt x="364" y="430"/>
                    <a:pt x="415" y="461"/>
                    <a:pt x="436" y="512"/>
                  </a:cubicBezTo>
                  <a:cubicBezTo>
                    <a:pt x="466" y="580"/>
                    <a:pt x="435" y="661"/>
                    <a:pt x="367" y="690"/>
                  </a:cubicBezTo>
                  <a:close/>
                  <a:moveTo>
                    <a:pt x="770" y="157"/>
                  </a:moveTo>
                  <a:cubicBezTo>
                    <a:pt x="770" y="157"/>
                    <a:pt x="770" y="157"/>
                    <a:pt x="636" y="273"/>
                  </a:cubicBezTo>
                  <a:cubicBezTo>
                    <a:pt x="636" y="273"/>
                    <a:pt x="636" y="273"/>
                    <a:pt x="636" y="274"/>
                  </a:cubicBezTo>
                  <a:cubicBezTo>
                    <a:pt x="636" y="290"/>
                    <a:pt x="622" y="303"/>
                    <a:pt x="606" y="303"/>
                  </a:cubicBezTo>
                  <a:cubicBezTo>
                    <a:pt x="590" y="303"/>
                    <a:pt x="577" y="290"/>
                    <a:pt x="576" y="275"/>
                  </a:cubicBezTo>
                  <a:cubicBezTo>
                    <a:pt x="576" y="275"/>
                    <a:pt x="576" y="275"/>
                    <a:pt x="484" y="210"/>
                  </a:cubicBezTo>
                  <a:cubicBezTo>
                    <a:pt x="478" y="208"/>
                    <a:pt x="477" y="201"/>
                    <a:pt x="481" y="195"/>
                  </a:cubicBezTo>
                  <a:cubicBezTo>
                    <a:pt x="484" y="190"/>
                    <a:pt x="490" y="188"/>
                    <a:pt x="496" y="191"/>
                  </a:cubicBezTo>
                  <a:cubicBezTo>
                    <a:pt x="496" y="191"/>
                    <a:pt x="496" y="191"/>
                    <a:pt x="595" y="246"/>
                  </a:cubicBezTo>
                  <a:cubicBezTo>
                    <a:pt x="599" y="245"/>
                    <a:pt x="602" y="244"/>
                    <a:pt x="606" y="244"/>
                  </a:cubicBezTo>
                  <a:cubicBezTo>
                    <a:pt x="608" y="244"/>
                    <a:pt x="611" y="244"/>
                    <a:pt x="613" y="245"/>
                  </a:cubicBezTo>
                  <a:cubicBezTo>
                    <a:pt x="613" y="245"/>
                    <a:pt x="603" y="254"/>
                    <a:pt x="756" y="138"/>
                  </a:cubicBezTo>
                  <a:cubicBezTo>
                    <a:pt x="758" y="137"/>
                    <a:pt x="762" y="136"/>
                    <a:pt x="764" y="136"/>
                  </a:cubicBezTo>
                  <a:cubicBezTo>
                    <a:pt x="767" y="136"/>
                    <a:pt x="770" y="138"/>
                    <a:pt x="772" y="140"/>
                  </a:cubicBezTo>
                  <a:cubicBezTo>
                    <a:pt x="776" y="145"/>
                    <a:pt x="776" y="153"/>
                    <a:pt x="770" y="1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580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6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STYLE_ID" val="0fbcd015-fbac-494c-bcad-77fcf24a62f5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8753A7EE4F104489D6F39D79D1BF42" ma:contentTypeVersion="4" ma:contentTypeDescription="Create a new document." ma:contentTypeScope="" ma:versionID="e960653946a9ce811f367d103aedca50">
  <xsd:schema xmlns:xsd="http://www.w3.org/2001/XMLSchema" xmlns:xs="http://www.w3.org/2001/XMLSchema" xmlns:p="http://schemas.microsoft.com/office/2006/metadata/properties" xmlns:ns2="a808fc1f-b5fd-4e41-9d07-682561c11043" targetNamespace="http://schemas.microsoft.com/office/2006/metadata/properties" ma:root="true" ma:fieldsID="0e367c33a7c91cad604ff748424737e7" ns2:_="">
    <xsd:import namespace="a808fc1f-b5fd-4e41-9d07-682561c110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08fc1f-b5fd-4e41-9d07-682561c110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FB01BD9-49C9-4533-BE8F-BC3F9E034359}">
  <ds:schemaRefs>
    <ds:schemaRef ds:uri="a808fc1f-b5fd-4e41-9d07-682561c1104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E689295-2476-41D0-BFA7-CE0B48831ED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556B70-628E-4B87-9F0F-B0F760CE055E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1_16-9</Template>
  <TotalTime>0</TotalTime>
  <Words>1400</Words>
  <Application>Microsoft Office PowerPoint</Application>
  <PresentationFormat>Bildschirmpräsentation (16:9)</PresentationFormat>
  <Paragraphs>271</Paragraphs>
  <Slides>20</Slides>
  <Notes>2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35" baseType="lpstr">
      <vt:lpstr>Arial</vt:lpstr>
      <vt:lpstr>Arial,Sans-Serif</vt:lpstr>
      <vt:lpstr>Calibri</vt:lpstr>
      <vt:lpstr>Courier New</vt:lpstr>
      <vt:lpstr>Segoe UI</vt:lpstr>
      <vt:lpstr>Symbol</vt:lpstr>
      <vt:lpstr>Trebuchet MS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think-cell Slide</vt:lpstr>
      <vt:lpstr>Starting the right way – a Pecha Kucha</vt:lpstr>
      <vt:lpstr>Outline</vt:lpstr>
      <vt:lpstr>Our team will drive the project with its diverse skill set</vt:lpstr>
      <vt:lpstr>Elites – Defining specific responsibilities</vt:lpstr>
      <vt:lpstr>Tools we use for an efficient setup</vt:lpstr>
      <vt:lpstr>Dividing large work packages</vt:lpstr>
      <vt:lpstr>Dividing large work packages</vt:lpstr>
      <vt:lpstr>Jira as Project Management Tool</vt:lpstr>
      <vt:lpstr>Jira as Project Management Tool</vt:lpstr>
      <vt:lpstr>Jira Workflow Model</vt:lpstr>
      <vt:lpstr>Creating an environment for improvement through code review</vt:lpstr>
      <vt:lpstr>Oh shit – Git?!</vt:lpstr>
      <vt:lpstr>Best Practice - Commits, Branching, Merging   </vt:lpstr>
      <vt:lpstr>Best Practice - Commits, Branching, Merging   </vt:lpstr>
      <vt:lpstr>CI/CD as Workflow</vt:lpstr>
      <vt:lpstr>Why is CI/CD the answer?</vt:lpstr>
      <vt:lpstr>Providing test suite as a service</vt:lpstr>
      <vt:lpstr>Building CI/CD with the right tools</vt:lpstr>
      <vt:lpstr>Building CI/CD with the right tools</vt:lpstr>
      <vt:lpstr>Thank you for your attention!</vt:lpstr>
    </vt:vector>
  </TitlesOfParts>
  <Company>--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68bow</dc:creator>
  <cp:lastModifiedBy>Gregor Höhne</cp:lastModifiedBy>
  <cp:revision>1</cp:revision>
  <cp:lastPrinted>2015-07-30T14:04:45Z</cp:lastPrinted>
  <dcterms:created xsi:type="dcterms:W3CDTF">2017-11-15T09:52:15Z</dcterms:created>
  <dcterms:modified xsi:type="dcterms:W3CDTF">2022-05-29T09:5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8753A7EE4F104489D6F39D79D1BF42</vt:lpwstr>
  </property>
  <property fmtid="{D5CDD505-2E9C-101B-9397-08002B2CF9AE}" pid="3" name="MSIP_Label_b0d5c4f4-7a29-4385-b7a5-afbe2154ae6f_Enabled">
    <vt:lpwstr>true</vt:lpwstr>
  </property>
  <property fmtid="{D5CDD505-2E9C-101B-9397-08002B2CF9AE}" pid="4" name="MSIP_Label_b0d5c4f4-7a29-4385-b7a5-afbe2154ae6f_SetDate">
    <vt:lpwstr>2022-05-22T20:34:05Z</vt:lpwstr>
  </property>
  <property fmtid="{D5CDD505-2E9C-101B-9397-08002B2CF9AE}" pid="5" name="MSIP_Label_b0d5c4f4-7a29-4385-b7a5-afbe2154ae6f_Method">
    <vt:lpwstr>Standard</vt:lpwstr>
  </property>
  <property fmtid="{D5CDD505-2E9C-101B-9397-08002B2CF9AE}" pid="6" name="MSIP_Label_b0d5c4f4-7a29-4385-b7a5-afbe2154ae6f_Name">
    <vt:lpwstr>Confidential</vt:lpwstr>
  </property>
  <property fmtid="{D5CDD505-2E9C-101B-9397-08002B2CF9AE}" pid="7" name="MSIP_Label_b0d5c4f4-7a29-4385-b7a5-afbe2154ae6f_SiteId">
    <vt:lpwstr>2dfb2f0b-4d21-4268-9559-72926144c918</vt:lpwstr>
  </property>
  <property fmtid="{D5CDD505-2E9C-101B-9397-08002B2CF9AE}" pid="8" name="MSIP_Label_b0d5c4f4-7a29-4385-b7a5-afbe2154ae6f_ActionId">
    <vt:lpwstr>69721263-341e-4451-878b-696319a296a5</vt:lpwstr>
  </property>
  <property fmtid="{D5CDD505-2E9C-101B-9397-08002B2CF9AE}" pid="9" name="MSIP_Label_b0d5c4f4-7a29-4385-b7a5-afbe2154ae6f_ContentBits">
    <vt:lpwstr>0</vt:lpwstr>
  </property>
  <property fmtid="{D5CDD505-2E9C-101B-9397-08002B2CF9AE}" pid="10" name="bcgClassification">
    <vt:lpwstr>bcgConfidential</vt:lpwstr>
  </property>
</Properties>
</file>